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47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7.xml" ContentType="application/vnd.openxmlformats-officedocument.theme+xml"/>
  <Override PartName="/ppt/tags/tag48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8.xml" ContentType="application/vnd.openxmlformats-officedocument.theme+xml"/>
  <Override PartName="/ppt/tags/tag49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9.xml" ContentType="application/vnd.openxmlformats-officedocument.theme+xml"/>
  <Override PartName="/ppt/tags/tag5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0.xml" ContentType="application/vnd.openxmlformats-officedocument.theme+xml"/>
  <Override PartName="/ppt/tags/tag51.xml" ContentType="application/vnd.openxmlformats-officedocument.presentationml.tags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12" r:id="rId6"/>
    <p:sldMasterId id="2147484527" r:id="rId7"/>
    <p:sldMasterId id="2147484542" r:id="rId8"/>
    <p:sldMasterId id="2147484641" r:id="rId9"/>
    <p:sldMasterId id="2147484661" r:id="rId10"/>
    <p:sldMasterId id="2147484674" r:id="rId11"/>
    <p:sldMasterId id="2147484716" r:id="rId12"/>
    <p:sldMasterId id="2147484790" r:id="rId13"/>
    <p:sldMasterId id="2147484805" r:id="rId14"/>
    <p:sldMasterId id="2147484819" r:id="rId15"/>
    <p:sldMasterId id="2147484840" r:id="rId16"/>
  </p:sldMasterIdLst>
  <p:notesMasterIdLst>
    <p:notesMasterId r:id="rId30"/>
  </p:notesMasterIdLst>
  <p:handoutMasterIdLst>
    <p:handoutMasterId r:id="rId31"/>
  </p:handoutMasterIdLst>
  <p:sldIdLst>
    <p:sldId id="875" r:id="rId17"/>
    <p:sldId id="878" r:id="rId18"/>
    <p:sldId id="880" r:id="rId19"/>
    <p:sldId id="903" r:id="rId20"/>
    <p:sldId id="904" r:id="rId21"/>
    <p:sldId id="905" r:id="rId22"/>
    <p:sldId id="877" r:id="rId23"/>
    <p:sldId id="870" r:id="rId24"/>
    <p:sldId id="895" r:id="rId25"/>
    <p:sldId id="896" r:id="rId26"/>
    <p:sldId id="897" r:id="rId27"/>
    <p:sldId id="902" r:id="rId28"/>
    <p:sldId id="893" r:id="rId29"/>
  </p:sldIdLst>
  <p:sldSz cx="12192000" cy="6858000"/>
  <p:notesSz cx="6805613" cy="9944100"/>
  <p:custDataLst>
    <p:tags r:id="rId32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6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405" userDrawn="1">
          <p15:clr>
            <a:srgbClr val="A4A3A4"/>
          </p15:clr>
        </p15:guide>
        <p15:guide id="2" pos="212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rman, Sarah" initials="WS" lastIdx="2" clrIdx="0">
    <p:extLst>
      <p:ext uri="{19B8F6BF-5375-455C-9EA6-DF929625EA0E}">
        <p15:presenceInfo xmlns:p15="http://schemas.microsoft.com/office/powerpoint/2012/main" userId="S-1-5-21-4183519483-3059463924-2091044566-90662" providerId="AD"/>
      </p:ext>
    </p:extLst>
  </p:cmAuthor>
  <p:cmAuthor id="2" name="Leigh, Warren" initials="LW" lastIdx="1" clrIdx="1">
    <p:extLst>
      <p:ext uri="{19B8F6BF-5375-455C-9EA6-DF929625EA0E}">
        <p15:presenceInfo xmlns:p15="http://schemas.microsoft.com/office/powerpoint/2012/main" userId="S-1-5-21-4183519483-3059463924-2091044566-100614" providerId="AD"/>
      </p:ext>
    </p:extLst>
  </p:cmAuthor>
  <p:cmAuthor id="3" name="Dave-Shah, Rakhee" initials="DR" lastIdx="3" clrIdx="2">
    <p:extLst>
      <p:ext uri="{19B8F6BF-5375-455C-9EA6-DF929625EA0E}">
        <p15:presenceInfo xmlns:p15="http://schemas.microsoft.com/office/powerpoint/2012/main" userId="S-1-5-21-4183519483-3059463924-2091044566-86955" providerId="AD"/>
      </p:ext>
    </p:extLst>
  </p:cmAuthor>
  <p:cmAuthor id="4" name="APJ Billington" initials="" lastIdx="1" clrIdx="3"/>
  <p:cmAuthor id="5" name="Bahooshy, Stephen" initials="BS" lastIdx="1" clrIdx="4">
    <p:extLst>
      <p:ext uri="{19B8F6BF-5375-455C-9EA6-DF929625EA0E}">
        <p15:presenceInfo xmlns:p15="http://schemas.microsoft.com/office/powerpoint/2012/main" userId="S-1-5-21-4183519483-3059463924-2091044566-952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4C3E"/>
    <a:srgbClr val="EEF1F2"/>
    <a:srgbClr val="FFFFFF"/>
    <a:srgbClr val="8CADAE"/>
    <a:srgbClr val="CCFFFF"/>
    <a:srgbClr val="CCECFF"/>
    <a:srgbClr val="C2DCF4"/>
    <a:srgbClr val="C5C5C5"/>
    <a:srgbClr val="84006F"/>
    <a:srgbClr val="B400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1964821-C9D3-43A8-B399-BD1C8AAC41E3}" v="44" dt="2019-05-20T10:49:49.676"/>
  </p1510:revLst>
</p1510:revInfo>
</file>

<file path=ppt/tableStyles.xml><?xml version="1.0" encoding="utf-8"?>
<a:tblStyleLst xmlns:a="http://schemas.openxmlformats.org/drawingml/2006/main" def="{1FECB4D8-DB02-4DC6-A0A2-4F2EBAE1DC9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382" autoAdjust="0"/>
    <p:restoredTop sz="86325" autoAdjust="0"/>
  </p:normalViewPr>
  <p:slideViewPr>
    <p:cSldViewPr snapToGrid="0">
      <p:cViewPr varScale="1">
        <p:scale>
          <a:sx n="61" d="100"/>
          <a:sy n="61" d="100"/>
        </p:scale>
        <p:origin x="678" y="60"/>
      </p:cViewPr>
      <p:guideLst>
        <p:guide orient="horz" pos="116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405"/>
        <p:guide pos="21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Master" Target="slideMasters/slideMaster8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8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0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theme" Target="theme/theme1.xml"/><Relationship Id="rId57" Type="http://schemas.microsoft.com/office/2015/10/relationships/revisionInfo" Target="revisionInfo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3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56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rman, Sarah" userId="S::093060@croydon.gov.uk::8fe8745b-66ab-4633-a12d-af5c80ea93cc" providerId="AD" clId="Web-{7E7796F2-8B49-F8E8-864E-BAF0D75E6958}"/>
    <pc:docChg chg="addSld delSld modSld sldOrd">
      <pc:chgData name="Warman, Sarah" userId="S::093060@croydon.gov.uk::8fe8745b-66ab-4633-a12d-af5c80ea93cc" providerId="AD" clId="Web-{7E7796F2-8B49-F8E8-864E-BAF0D75E6958}" dt="2019-05-16T06:41:30.029" v="1495" actId="20577"/>
      <pc:docMkLst>
        <pc:docMk/>
      </pc:docMkLst>
      <pc:sldChg chg="modSp">
        <pc:chgData name="Warman, Sarah" userId="S::093060@croydon.gov.uk::8fe8745b-66ab-4633-a12d-af5c80ea93cc" providerId="AD" clId="Web-{7E7796F2-8B49-F8E8-864E-BAF0D75E6958}" dt="2019-05-16T06:12:40.364" v="144" actId="20577"/>
        <pc:sldMkLst>
          <pc:docMk/>
          <pc:sldMk cId="4040573078" sldId="843"/>
        </pc:sldMkLst>
        <pc:spChg chg="mod">
          <ac:chgData name="Warman, Sarah" userId="S::093060@croydon.gov.uk::8fe8745b-66ab-4633-a12d-af5c80ea93cc" providerId="AD" clId="Web-{7E7796F2-8B49-F8E8-864E-BAF0D75E6958}" dt="2019-05-16T06:12:40.364" v="144" actId="20577"/>
          <ac:spMkLst>
            <pc:docMk/>
            <pc:sldMk cId="4040573078" sldId="843"/>
            <ac:spMk id="12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7E7796F2-8B49-F8E8-864E-BAF0D75E6958}" dt="2019-05-16T06:14:39.426" v="248" actId="20577"/>
        <pc:sldMkLst>
          <pc:docMk/>
          <pc:sldMk cId="241086178" sldId="844"/>
        </pc:sldMkLst>
        <pc:spChg chg="mod">
          <ac:chgData name="Warman, Sarah" userId="S::093060@croydon.gov.uk::8fe8745b-66ab-4633-a12d-af5c80ea93cc" providerId="AD" clId="Web-{7E7796F2-8B49-F8E8-864E-BAF0D75E6958}" dt="2019-05-16T06:13:10.754" v="160" actId="20577"/>
          <ac:spMkLst>
            <pc:docMk/>
            <pc:sldMk cId="241086178" sldId="844"/>
            <ac:spMk id="3" creationId="{5BD5EBC0-3539-4FF0-8889-0A9E3378A15D}"/>
          </ac:spMkLst>
        </pc:spChg>
        <pc:spChg chg="mod">
          <ac:chgData name="Warman, Sarah" userId="S::093060@croydon.gov.uk::8fe8745b-66ab-4633-a12d-af5c80ea93cc" providerId="AD" clId="Web-{7E7796F2-8B49-F8E8-864E-BAF0D75E6958}" dt="2019-05-16T06:14:39.426" v="248" actId="20577"/>
          <ac:spMkLst>
            <pc:docMk/>
            <pc:sldMk cId="241086178" sldId="844"/>
            <ac:spMk id="4" creationId="{6935F7E7-9836-4F41-A6FA-4BEF88107015}"/>
          </ac:spMkLst>
        </pc:spChg>
      </pc:sldChg>
      <pc:sldChg chg="del">
        <pc:chgData name="Warman, Sarah" userId="S::093060@croydon.gov.uk::8fe8745b-66ab-4633-a12d-af5c80ea93cc" providerId="AD" clId="Web-{7E7796F2-8B49-F8E8-864E-BAF0D75E6958}" dt="2019-05-16T06:40:51.216" v="1439"/>
        <pc:sldMkLst>
          <pc:docMk/>
          <pc:sldMk cId="3759943738" sldId="846"/>
        </pc:sldMkLst>
      </pc:sldChg>
      <pc:sldChg chg="addSp modSp">
        <pc:chgData name="Warman, Sarah" userId="S::093060@croydon.gov.uk::8fe8745b-66ab-4633-a12d-af5c80ea93cc" providerId="AD" clId="Web-{7E7796F2-8B49-F8E8-864E-BAF0D75E6958}" dt="2019-05-16T06:18:34.222" v="361" actId="20577"/>
        <pc:sldMkLst>
          <pc:docMk/>
          <pc:sldMk cId="3029233649" sldId="847"/>
        </pc:sldMkLst>
        <pc:spChg chg="add mod">
          <ac:chgData name="Warman, Sarah" userId="S::093060@croydon.gov.uk::8fe8745b-66ab-4633-a12d-af5c80ea93cc" providerId="AD" clId="Web-{7E7796F2-8B49-F8E8-864E-BAF0D75E6958}" dt="2019-05-16T06:18:23.909" v="360" actId="14100"/>
          <ac:spMkLst>
            <pc:docMk/>
            <pc:sldMk cId="3029233649" sldId="847"/>
            <ac:spMk id="2" creationId="{E13C09A2-BF22-408E-808F-4C571975810D}"/>
          </ac:spMkLst>
        </pc:spChg>
        <pc:spChg chg="mod">
          <ac:chgData name="Warman, Sarah" userId="S::093060@croydon.gov.uk::8fe8745b-66ab-4633-a12d-af5c80ea93cc" providerId="AD" clId="Web-{7E7796F2-8B49-F8E8-864E-BAF0D75E6958}" dt="2019-05-16T06:17:50.831" v="356" actId="20577"/>
          <ac:spMkLst>
            <pc:docMk/>
            <pc:sldMk cId="3029233649" sldId="847"/>
            <ac:spMk id="3" creationId="{61674704-8D6F-4584-834B-589AE8AABDB8}"/>
          </ac:spMkLst>
        </pc:spChg>
        <pc:spChg chg="mod">
          <ac:chgData name="Warman, Sarah" userId="S::093060@croydon.gov.uk::8fe8745b-66ab-4633-a12d-af5c80ea93cc" providerId="AD" clId="Web-{7E7796F2-8B49-F8E8-864E-BAF0D75E6958}" dt="2019-05-16T06:18:34.222" v="361" actId="20577"/>
          <ac:spMkLst>
            <pc:docMk/>
            <pc:sldMk cId="3029233649" sldId="847"/>
            <ac:spMk id="7" creationId="{BFFCF9F7-5DCB-4704-80A9-E9EF478C1648}"/>
          </ac:spMkLst>
        </pc:spChg>
      </pc:sldChg>
      <pc:sldChg chg="addSp delSp modSp">
        <pc:chgData name="Warman, Sarah" userId="S::093060@croydon.gov.uk::8fe8745b-66ab-4633-a12d-af5c80ea93cc" providerId="AD" clId="Web-{7E7796F2-8B49-F8E8-864E-BAF0D75E6958}" dt="2019-05-16T06:21:33.065" v="483" actId="20577"/>
        <pc:sldMkLst>
          <pc:docMk/>
          <pc:sldMk cId="3028281085" sldId="848"/>
        </pc:sldMkLst>
        <pc:spChg chg="mod">
          <ac:chgData name="Warman, Sarah" userId="S::093060@croydon.gov.uk::8fe8745b-66ab-4633-a12d-af5c80ea93cc" providerId="AD" clId="Web-{7E7796F2-8B49-F8E8-864E-BAF0D75E6958}" dt="2019-05-16T06:18:52.206" v="366" actId="20577"/>
          <ac:spMkLst>
            <pc:docMk/>
            <pc:sldMk cId="3028281085" sldId="848"/>
            <ac:spMk id="3" creationId="{B8FCC916-B10E-45A8-A12D-2B791F6E9D19}"/>
          </ac:spMkLst>
        </pc:spChg>
        <pc:spChg chg="add del mod">
          <ac:chgData name="Warman, Sarah" userId="S::093060@croydon.gov.uk::8fe8745b-66ab-4633-a12d-af5c80ea93cc" providerId="AD" clId="Web-{7E7796F2-8B49-F8E8-864E-BAF0D75E6958}" dt="2019-05-16T06:21:33.065" v="483" actId="20577"/>
          <ac:spMkLst>
            <pc:docMk/>
            <pc:sldMk cId="3028281085" sldId="848"/>
            <ac:spMk id="6" creationId="{3DF7A815-E329-49C6-849A-3BD5388E7459}"/>
          </ac:spMkLst>
        </pc:spChg>
      </pc:sldChg>
      <pc:sldChg chg="modSp">
        <pc:chgData name="Warman, Sarah" userId="S::093060@croydon.gov.uk::8fe8745b-66ab-4633-a12d-af5c80ea93cc" providerId="AD" clId="Web-{7E7796F2-8B49-F8E8-864E-BAF0D75E6958}" dt="2019-05-16T06:21:56.268" v="488" actId="1076"/>
        <pc:sldMkLst>
          <pc:docMk/>
          <pc:sldMk cId="1734698269" sldId="850"/>
        </pc:sldMkLst>
        <pc:spChg chg="mod">
          <ac:chgData name="Warman, Sarah" userId="S::093060@croydon.gov.uk::8fe8745b-66ab-4633-a12d-af5c80ea93cc" providerId="AD" clId="Web-{7E7796F2-8B49-F8E8-864E-BAF0D75E6958}" dt="2019-05-16T06:21:56.268" v="488" actId="1076"/>
          <ac:spMkLst>
            <pc:docMk/>
            <pc:sldMk cId="1734698269" sldId="850"/>
            <ac:spMk id="3" creationId="{00000000-0000-0000-0000-000000000000}"/>
          </ac:spMkLst>
        </pc:spChg>
        <pc:graphicFrameChg chg="mod modGraphic">
          <ac:chgData name="Warman, Sarah" userId="S::093060@croydon.gov.uk::8fe8745b-66ab-4633-a12d-af5c80ea93cc" providerId="AD" clId="Web-{7E7796F2-8B49-F8E8-864E-BAF0D75E6958}" dt="2019-05-16T06:21:51.580" v="487"/>
          <ac:graphicFrameMkLst>
            <pc:docMk/>
            <pc:sldMk cId="1734698269" sldId="850"/>
            <ac:graphicFrameMk id="12" creationId="{00000000-0000-0000-0000-000000000000}"/>
          </ac:graphicFrameMkLst>
        </pc:graphicFrameChg>
      </pc:sldChg>
      <pc:sldChg chg="modSp">
        <pc:chgData name="Warman, Sarah" userId="S::093060@croydon.gov.uk::8fe8745b-66ab-4633-a12d-af5c80ea93cc" providerId="AD" clId="Web-{7E7796F2-8B49-F8E8-864E-BAF0D75E6958}" dt="2019-05-16T06:37:27.639" v="1260"/>
        <pc:sldMkLst>
          <pc:docMk/>
          <pc:sldMk cId="2948448651" sldId="852"/>
        </pc:sldMkLst>
        <pc:graphicFrameChg chg="mod modGraphic">
          <ac:chgData name="Warman, Sarah" userId="S::093060@croydon.gov.uk::8fe8745b-66ab-4633-a12d-af5c80ea93cc" providerId="AD" clId="Web-{7E7796F2-8B49-F8E8-864E-BAF0D75E6958}" dt="2019-05-16T06:37:27.639" v="1260"/>
          <ac:graphicFrameMkLst>
            <pc:docMk/>
            <pc:sldMk cId="2948448651" sldId="852"/>
            <ac:graphicFrameMk id="6" creationId="{00000000-0000-0000-0000-000000000000}"/>
          </ac:graphicFrameMkLst>
        </pc:graphicFrameChg>
      </pc:sldChg>
      <pc:sldChg chg="modSp">
        <pc:chgData name="Warman, Sarah" userId="S::093060@croydon.gov.uk::8fe8745b-66ab-4633-a12d-af5c80ea93cc" providerId="AD" clId="Web-{7E7796F2-8B49-F8E8-864E-BAF0D75E6958}" dt="2019-05-16T06:23:28.283" v="495" actId="20577"/>
        <pc:sldMkLst>
          <pc:docMk/>
          <pc:sldMk cId="777089977" sldId="853"/>
        </pc:sldMkLst>
        <pc:spChg chg="mod">
          <ac:chgData name="Warman, Sarah" userId="S::093060@croydon.gov.uk::8fe8745b-66ab-4633-a12d-af5c80ea93cc" providerId="AD" clId="Web-{7E7796F2-8B49-F8E8-864E-BAF0D75E6958}" dt="2019-05-16T06:23:28.283" v="495" actId="20577"/>
          <ac:spMkLst>
            <pc:docMk/>
            <pc:sldMk cId="777089977" sldId="853"/>
            <ac:spMk id="3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7E7796F2-8B49-F8E8-864E-BAF0D75E6958}" dt="2019-05-16T06:40:15.873" v="1434"/>
        <pc:sldMkLst>
          <pc:docMk/>
          <pc:sldMk cId="774521525" sldId="855"/>
        </pc:sldMkLst>
        <pc:graphicFrameChg chg="mod modGraphic">
          <ac:chgData name="Warman, Sarah" userId="S::093060@croydon.gov.uk::8fe8745b-66ab-4633-a12d-af5c80ea93cc" providerId="AD" clId="Web-{7E7796F2-8B49-F8E8-864E-BAF0D75E6958}" dt="2019-05-16T06:40:15.873" v="1434"/>
          <ac:graphicFrameMkLst>
            <pc:docMk/>
            <pc:sldMk cId="774521525" sldId="855"/>
            <ac:graphicFrameMk id="4" creationId="{00000000-0000-0000-0000-000000000000}"/>
          </ac:graphicFrameMkLst>
        </pc:graphicFrameChg>
      </pc:sldChg>
      <pc:sldChg chg="modSp add replId">
        <pc:chgData name="Warman, Sarah" userId="S::093060@croydon.gov.uk::8fe8745b-66ab-4633-a12d-af5c80ea93cc" providerId="AD" clId="Web-{7E7796F2-8B49-F8E8-864E-BAF0D75E6958}" dt="2019-05-16T06:37:01.515" v="1170" actId="20577"/>
        <pc:sldMkLst>
          <pc:docMk/>
          <pc:sldMk cId="464678197" sldId="858"/>
        </pc:sldMkLst>
        <pc:spChg chg="mod">
          <ac:chgData name="Warman, Sarah" userId="S::093060@croydon.gov.uk::8fe8745b-66ab-4633-a12d-af5c80ea93cc" providerId="AD" clId="Web-{7E7796F2-8B49-F8E8-864E-BAF0D75E6958}" dt="2019-05-16T06:32:51.500" v="530" actId="20577"/>
          <ac:spMkLst>
            <pc:docMk/>
            <pc:sldMk cId="464678197" sldId="858"/>
            <ac:spMk id="2" creationId="{8845CE91-1DCF-480D-AF7B-599FDAB39CC4}"/>
          </ac:spMkLst>
        </pc:spChg>
        <pc:spChg chg="mod">
          <ac:chgData name="Warman, Sarah" userId="S::093060@croydon.gov.uk::8fe8745b-66ab-4633-a12d-af5c80ea93cc" providerId="AD" clId="Web-{7E7796F2-8B49-F8E8-864E-BAF0D75E6958}" dt="2019-05-16T06:37:01.515" v="1170" actId="20577"/>
          <ac:spMkLst>
            <pc:docMk/>
            <pc:sldMk cId="464678197" sldId="858"/>
            <ac:spMk id="3" creationId="{00000000-0000-0000-0000-000000000000}"/>
          </ac:spMkLst>
        </pc:spChg>
      </pc:sldChg>
      <pc:sldChg chg="modSp add replId">
        <pc:chgData name="Warman, Sarah" userId="S::093060@croydon.gov.uk::8fe8745b-66ab-4633-a12d-af5c80ea93cc" providerId="AD" clId="Web-{7E7796F2-8B49-F8E8-864E-BAF0D75E6958}" dt="2019-05-16T06:33:58.079" v="590" actId="20577"/>
        <pc:sldMkLst>
          <pc:docMk/>
          <pc:sldMk cId="2812899102" sldId="859"/>
        </pc:sldMkLst>
        <pc:spChg chg="mod">
          <ac:chgData name="Warman, Sarah" userId="S::093060@croydon.gov.uk::8fe8745b-66ab-4633-a12d-af5c80ea93cc" providerId="AD" clId="Web-{7E7796F2-8B49-F8E8-864E-BAF0D75E6958}" dt="2019-05-16T06:33:57.796" v="589" actId="20577"/>
          <ac:spMkLst>
            <pc:docMk/>
            <pc:sldMk cId="2812899102" sldId="859"/>
            <ac:spMk id="2" creationId="{8845CE91-1DCF-480D-AF7B-599FDAB39CC4}"/>
          </ac:spMkLst>
        </pc:spChg>
        <pc:spChg chg="mod">
          <ac:chgData name="Warman, Sarah" userId="S::093060@croydon.gov.uk::8fe8745b-66ab-4633-a12d-af5c80ea93cc" providerId="AD" clId="Web-{7E7796F2-8B49-F8E8-864E-BAF0D75E6958}" dt="2019-05-16T06:33:58.079" v="590" actId="20577"/>
          <ac:spMkLst>
            <pc:docMk/>
            <pc:sldMk cId="2812899102" sldId="859"/>
            <ac:spMk id="3" creationId="{00000000-0000-0000-0000-000000000000}"/>
          </ac:spMkLst>
        </pc:spChg>
      </pc:sldChg>
      <pc:sldChg chg="modSp add replId">
        <pc:chgData name="Warman, Sarah" userId="S::093060@croydon.gov.uk::8fe8745b-66ab-4633-a12d-af5c80ea93cc" providerId="AD" clId="Web-{7E7796F2-8B49-F8E8-864E-BAF0D75E6958}" dt="2019-05-16T06:33:46.281" v="588" actId="20577"/>
        <pc:sldMkLst>
          <pc:docMk/>
          <pc:sldMk cId="4034472895" sldId="860"/>
        </pc:sldMkLst>
        <pc:spChg chg="mod">
          <ac:chgData name="Warman, Sarah" userId="S::093060@croydon.gov.uk::8fe8745b-66ab-4633-a12d-af5c80ea93cc" providerId="AD" clId="Web-{7E7796F2-8B49-F8E8-864E-BAF0D75E6958}" dt="2019-05-16T06:33:46.281" v="588" actId="20577"/>
          <ac:spMkLst>
            <pc:docMk/>
            <pc:sldMk cId="4034472895" sldId="860"/>
            <ac:spMk id="2" creationId="{8845CE91-1DCF-480D-AF7B-599FDAB39CC4}"/>
          </ac:spMkLst>
        </pc:spChg>
      </pc:sldChg>
      <pc:sldChg chg="modSp add ord replId">
        <pc:chgData name="Warman, Sarah" userId="S::093060@croydon.gov.uk::8fe8745b-66ab-4633-a12d-af5c80ea93cc" providerId="AD" clId="Web-{7E7796F2-8B49-F8E8-864E-BAF0D75E6958}" dt="2019-05-16T06:35:56.233" v="1021" actId="20577"/>
        <pc:sldMkLst>
          <pc:docMk/>
          <pc:sldMk cId="1530622509" sldId="861"/>
        </pc:sldMkLst>
        <pc:spChg chg="mod">
          <ac:chgData name="Warman, Sarah" userId="S::093060@croydon.gov.uk::8fe8745b-66ab-4633-a12d-af5c80ea93cc" providerId="AD" clId="Web-{7E7796F2-8B49-F8E8-864E-BAF0D75E6958}" dt="2019-05-16T06:34:58.312" v="657" actId="20577"/>
          <ac:spMkLst>
            <pc:docMk/>
            <pc:sldMk cId="1530622509" sldId="861"/>
            <ac:spMk id="2" creationId="{00000000-0000-0000-0000-000000000000}"/>
          </ac:spMkLst>
        </pc:spChg>
        <pc:spChg chg="mod">
          <ac:chgData name="Warman, Sarah" userId="S::093060@croydon.gov.uk::8fe8745b-66ab-4633-a12d-af5c80ea93cc" providerId="AD" clId="Web-{7E7796F2-8B49-F8E8-864E-BAF0D75E6958}" dt="2019-05-16T06:35:56.233" v="1021" actId="20577"/>
          <ac:spMkLst>
            <pc:docMk/>
            <pc:sldMk cId="1530622509" sldId="861"/>
            <ac:spMk id="12" creationId="{00000000-0000-0000-0000-000000000000}"/>
          </ac:spMkLst>
        </pc:spChg>
      </pc:sldChg>
      <pc:sldChg chg="modSp add replId">
        <pc:chgData name="Warman, Sarah" userId="S::093060@croydon.gov.uk::8fe8745b-66ab-4633-a12d-af5c80ea93cc" providerId="AD" clId="Web-{7E7796F2-8B49-F8E8-864E-BAF0D75E6958}" dt="2019-05-16T06:41:30.029" v="1495" actId="20577"/>
        <pc:sldMkLst>
          <pc:docMk/>
          <pc:sldMk cId="377194870" sldId="862"/>
        </pc:sldMkLst>
        <pc:spChg chg="mod">
          <ac:chgData name="Warman, Sarah" userId="S::093060@croydon.gov.uk::8fe8745b-66ab-4633-a12d-af5c80ea93cc" providerId="AD" clId="Web-{7E7796F2-8B49-F8E8-864E-BAF0D75E6958}" dt="2019-05-16T06:41:30.029" v="1495" actId="20577"/>
          <ac:spMkLst>
            <pc:docMk/>
            <pc:sldMk cId="377194870" sldId="862"/>
            <ac:spMk id="2" creationId="{00000000-0000-0000-0000-000000000000}"/>
          </ac:spMkLst>
        </pc:spChg>
      </pc:sldChg>
      <pc:sldChg chg="add del replId">
        <pc:chgData name="Warman, Sarah" userId="S::093060@croydon.gov.uk::8fe8745b-66ab-4633-a12d-af5c80ea93cc" providerId="AD" clId="Web-{7E7796F2-8B49-F8E8-864E-BAF0D75E6958}" dt="2019-05-16T06:40:55.654" v="1441"/>
        <pc:sldMkLst>
          <pc:docMk/>
          <pc:sldMk cId="2898115349" sldId="863"/>
        </pc:sldMkLst>
      </pc:sldChg>
      <pc:sldChg chg="modSp add replId">
        <pc:chgData name="Warman, Sarah" userId="S::093060@croydon.gov.uk::8fe8745b-66ab-4633-a12d-af5c80ea93cc" providerId="AD" clId="Web-{7E7796F2-8B49-F8E8-864E-BAF0D75E6958}" dt="2019-05-16T06:41:11.732" v="1459" actId="20577"/>
        <pc:sldMkLst>
          <pc:docMk/>
          <pc:sldMk cId="3796351993" sldId="863"/>
        </pc:sldMkLst>
        <pc:spChg chg="mod">
          <ac:chgData name="Warman, Sarah" userId="S::093060@croydon.gov.uk::8fe8745b-66ab-4633-a12d-af5c80ea93cc" providerId="AD" clId="Web-{7E7796F2-8B49-F8E8-864E-BAF0D75E6958}" dt="2019-05-16T06:41:11.732" v="1459" actId="20577"/>
          <ac:spMkLst>
            <pc:docMk/>
            <pc:sldMk cId="3796351993" sldId="863"/>
            <ac:spMk id="2" creationId="{951500AA-22E8-4C43-945A-BA9517550FDA}"/>
          </ac:spMkLst>
        </pc:spChg>
      </pc:sldChg>
    </pc:docChg>
  </pc:docChgLst>
  <pc:docChgLst>
    <pc:chgData name="Butt, Henry" userId="S::097444@croydon.gov.uk::5ded9784-7b69-4809-b6c2-b1719bef27bf" providerId="AD" clId="Web-{6E7FCBF0-F625-61D3-32B2-1B68BF8E2893}"/>
    <pc:docChg chg="modSld">
      <pc:chgData name="Butt, Henry" userId="S::097444@croydon.gov.uk::5ded9784-7b69-4809-b6c2-b1719bef27bf" providerId="AD" clId="Web-{6E7FCBF0-F625-61D3-32B2-1B68BF8E2893}" dt="2019-05-13T10:15:39.965" v="115" actId="1076"/>
      <pc:docMkLst>
        <pc:docMk/>
      </pc:docMkLst>
      <pc:sldChg chg="modSp">
        <pc:chgData name="Butt, Henry" userId="S::097444@croydon.gov.uk::5ded9784-7b69-4809-b6c2-b1719bef27bf" providerId="AD" clId="Web-{6E7FCBF0-F625-61D3-32B2-1B68BF8E2893}" dt="2019-05-13T10:15:39.965" v="115" actId="1076"/>
        <pc:sldMkLst>
          <pc:docMk/>
          <pc:sldMk cId="241086178" sldId="844"/>
        </pc:sldMkLst>
        <pc:spChg chg="mod">
          <ac:chgData name="Butt, Henry" userId="S::097444@croydon.gov.uk::5ded9784-7b69-4809-b6c2-b1719bef27bf" providerId="AD" clId="Web-{6E7FCBF0-F625-61D3-32B2-1B68BF8E2893}" dt="2019-05-13T09:33:16.702" v="40" actId="20577"/>
          <ac:spMkLst>
            <pc:docMk/>
            <pc:sldMk cId="241086178" sldId="844"/>
            <ac:spMk id="3" creationId="{5BD5EBC0-3539-4FF0-8889-0A9E3378A15D}"/>
          </ac:spMkLst>
        </pc:spChg>
        <pc:spChg chg="mod">
          <ac:chgData name="Butt, Henry" userId="S::097444@croydon.gov.uk::5ded9784-7b69-4809-b6c2-b1719bef27bf" providerId="AD" clId="Web-{6E7FCBF0-F625-61D3-32B2-1B68BF8E2893}" dt="2019-05-13T10:15:39.965" v="115" actId="1076"/>
          <ac:spMkLst>
            <pc:docMk/>
            <pc:sldMk cId="241086178" sldId="844"/>
            <ac:spMk id="4" creationId="{6935F7E7-9836-4F41-A6FA-4BEF88107015}"/>
          </ac:spMkLst>
        </pc:spChg>
      </pc:sldChg>
      <pc:sldChg chg="modSp">
        <pc:chgData name="Butt, Henry" userId="S::097444@croydon.gov.uk::5ded9784-7b69-4809-b6c2-b1719bef27bf" providerId="AD" clId="Web-{6E7FCBF0-F625-61D3-32B2-1B68BF8E2893}" dt="2019-05-13T09:36:14.701" v="95" actId="20577"/>
        <pc:sldMkLst>
          <pc:docMk/>
          <pc:sldMk cId="3029233649" sldId="847"/>
        </pc:sldMkLst>
        <pc:spChg chg="mod">
          <ac:chgData name="Butt, Henry" userId="S::097444@croydon.gov.uk::5ded9784-7b69-4809-b6c2-b1719bef27bf" providerId="AD" clId="Web-{6E7FCBF0-F625-61D3-32B2-1B68BF8E2893}" dt="2019-05-13T09:36:14.701" v="95" actId="20577"/>
          <ac:spMkLst>
            <pc:docMk/>
            <pc:sldMk cId="3029233649" sldId="847"/>
            <ac:spMk id="3" creationId="{61674704-8D6F-4584-834B-589AE8AABDB8}"/>
          </ac:spMkLst>
        </pc:spChg>
        <pc:spChg chg="mod">
          <ac:chgData name="Butt, Henry" userId="S::097444@croydon.gov.uk::5ded9784-7b69-4809-b6c2-b1719bef27bf" providerId="AD" clId="Web-{6E7FCBF0-F625-61D3-32B2-1B68BF8E2893}" dt="2019-05-13T09:33:10.718" v="37" actId="20577"/>
          <ac:spMkLst>
            <pc:docMk/>
            <pc:sldMk cId="3029233649" sldId="847"/>
            <ac:spMk id="7" creationId="{BFFCF9F7-5DCB-4704-80A9-E9EF478C1648}"/>
          </ac:spMkLst>
        </pc:spChg>
      </pc:sldChg>
      <pc:sldChg chg="addSp delSp modSp">
        <pc:chgData name="Butt, Henry" userId="S::097444@croydon.gov.uk::5ded9784-7b69-4809-b6c2-b1719bef27bf" providerId="AD" clId="Web-{6E7FCBF0-F625-61D3-32B2-1B68BF8E2893}" dt="2019-05-13T09:36:54.951" v="112" actId="20577"/>
        <pc:sldMkLst>
          <pc:docMk/>
          <pc:sldMk cId="3028281085" sldId="848"/>
        </pc:sldMkLst>
        <pc:spChg chg="mod">
          <ac:chgData name="Butt, Henry" userId="S::097444@croydon.gov.uk::5ded9784-7b69-4809-b6c2-b1719bef27bf" providerId="AD" clId="Web-{6E7FCBF0-F625-61D3-32B2-1B68BF8E2893}" dt="2019-05-13T09:35:12.092" v="85" actId="20577"/>
          <ac:spMkLst>
            <pc:docMk/>
            <pc:sldMk cId="3028281085" sldId="848"/>
            <ac:spMk id="2" creationId="{C893FF65-77ED-4074-BEB2-FBFBE316FBA5}"/>
          </ac:spMkLst>
        </pc:spChg>
        <pc:spChg chg="add mod">
          <ac:chgData name="Butt, Henry" userId="S::097444@croydon.gov.uk::5ded9784-7b69-4809-b6c2-b1719bef27bf" providerId="AD" clId="Web-{6E7FCBF0-F625-61D3-32B2-1B68BF8E2893}" dt="2019-05-13T09:34:53.811" v="83" actId="14100"/>
          <ac:spMkLst>
            <pc:docMk/>
            <pc:sldMk cId="3028281085" sldId="848"/>
            <ac:spMk id="3" creationId="{B8FCC916-B10E-45A8-A12D-2B791F6E9D19}"/>
          </ac:spMkLst>
        </pc:spChg>
        <pc:spChg chg="add del mod">
          <ac:chgData name="Butt, Henry" userId="S::097444@croydon.gov.uk::5ded9784-7b69-4809-b6c2-b1719bef27bf" providerId="AD" clId="Web-{6E7FCBF0-F625-61D3-32B2-1B68BF8E2893}" dt="2019-05-13T09:35:15.342" v="86" actId="1076"/>
          <ac:spMkLst>
            <pc:docMk/>
            <pc:sldMk cId="3028281085" sldId="848"/>
            <ac:spMk id="5" creationId="{AB7D1BCC-E5EE-4F45-8F03-5970B4CB7153}"/>
          </ac:spMkLst>
        </pc:spChg>
        <pc:spChg chg="mod">
          <ac:chgData name="Butt, Henry" userId="S::097444@croydon.gov.uk::5ded9784-7b69-4809-b6c2-b1719bef27bf" providerId="AD" clId="Web-{6E7FCBF0-F625-61D3-32B2-1B68BF8E2893}" dt="2019-05-13T09:36:54.951" v="112" actId="20577"/>
          <ac:spMkLst>
            <pc:docMk/>
            <pc:sldMk cId="3028281085" sldId="848"/>
            <ac:spMk id="6" creationId="{3DF7A815-E329-49C6-849A-3BD5388E7459}"/>
          </ac:spMkLst>
        </pc:spChg>
      </pc:sldChg>
    </pc:docChg>
  </pc:docChgLst>
  <pc:docChgLst>
    <pc:chgData name="Talbot, Alex" userId="S::097445@croydon.gov.uk::2e359fc2-acc1-4d79-bd57-d83855c21d06" providerId="AD" clId="Web-{68EB3966-20FF-579F-FD38-C300E1463669}"/>
    <pc:docChg chg="addSld delSld modSld sldOrd">
      <pc:chgData name="Talbot, Alex" userId="S::097445@croydon.gov.uk::2e359fc2-acc1-4d79-bd57-d83855c21d06" providerId="AD" clId="Web-{68EB3966-20FF-579F-FD38-C300E1463669}" dt="2019-05-17T15:37:59.139" v="18"/>
      <pc:docMkLst>
        <pc:docMk/>
      </pc:docMkLst>
      <pc:sldChg chg="modSp">
        <pc:chgData name="Talbot, Alex" userId="S::097445@croydon.gov.uk::2e359fc2-acc1-4d79-bd57-d83855c21d06" providerId="AD" clId="Web-{68EB3966-20FF-579F-FD38-C300E1463669}" dt="2019-05-17T15:35:46.921" v="10"/>
        <pc:sldMkLst>
          <pc:docMk/>
          <pc:sldMk cId="2078240094" sldId="851"/>
        </pc:sldMkLst>
        <pc:graphicFrameChg chg="mod modGraphic">
          <ac:chgData name="Talbot, Alex" userId="S::097445@croydon.gov.uk::2e359fc2-acc1-4d79-bd57-d83855c21d06" providerId="AD" clId="Web-{68EB3966-20FF-579F-FD38-C300E1463669}" dt="2019-05-17T15:35:46.921" v="10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modSp">
        <pc:chgData name="Talbot, Alex" userId="S::097445@croydon.gov.uk::2e359fc2-acc1-4d79-bd57-d83855c21d06" providerId="AD" clId="Web-{68EB3966-20FF-579F-FD38-C300E1463669}" dt="2019-05-17T15:27:50.688" v="8" actId="20577"/>
        <pc:sldMkLst>
          <pc:docMk/>
          <pc:sldMk cId="774521525" sldId="855"/>
        </pc:sldMkLst>
        <pc:spChg chg="mod">
          <ac:chgData name="Talbot, Alex" userId="S::097445@croydon.gov.uk::2e359fc2-acc1-4d79-bd57-d83855c21d06" providerId="AD" clId="Web-{68EB3966-20FF-579F-FD38-C300E1463669}" dt="2019-05-17T15:27:50.688" v="8" actId="20577"/>
          <ac:spMkLst>
            <pc:docMk/>
            <pc:sldMk cId="774521525" sldId="855"/>
            <ac:spMk id="2" creationId="{00000000-0000-0000-0000-000000000000}"/>
          </ac:spMkLst>
        </pc:spChg>
      </pc:sldChg>
      <pc:sldChg chg="ord">
        <pc:chgData name="Talbot, Alex" userId="S::097445@croydon.gov.uk::2e359fc2-acc1-4d79-bd57-d83855c21d06" providerId="AD" clId="Web-{68EB3966-20FF-579F-FD38-C300E1463669}" dt="2019-05-17T15:37:52.155" v="17"/>
        <pc:sldMkLst>
          <pc:docMk/>
          <pc:sldMk cId="1593550025" sldId="856"/>
        </pc:sldMkLst>
      </pc:sldChg>
      <pc:sldChg chg="ord">
        <pc:chgData name="Talbot, Alex" userId="S::097445@croydon.gov.uk::2e359fc2-acc1-4d79-bd57-d83855c21d06" providerId="AD" clId="Web-{68EB3966-20FF-579F-FD38-C300E1463669}" dt="2019-05-17T15:37:59.139" v="18"/>
        <pc:sldMkLst>
          <pc:docMk/>
          <pc:sldMk cId="2921125348" sldId="870"/>
        </pc:sldMkLst>
      </pc:sldChg>
      <pc:sldChg chg="modSp new del">
        <pc:chgData name="Talbot, Alex" userId="S::097445@croydon.gov.uk::2e359fc2-acc1-4d79-bd57-d83855c21d06" providerId="AD" clId="Web-{68EB3966-20FF-579F-FD38-C300E1463669}" dt="2019-05-17T15:37:19.827" v="16"/>
        <pc:sldMkLst>
          <pc:docMk/>
          <pc:sldMk cId="4204530140" sldId="872"/>
        </pc:sldMkLst>
        <pc:spChg chg="mod">
          <ac:chgData name="Talbot, Alex" userId="S::097445@croydon.gov.uk::2e359fc2-acc1-4d79-bd57-d83855c21d06" providerId="AD" clId="Web-{68EB3966-20FF-579F-FD38-C300E1463669}" dt="2019-05-17T15:36:20.155" v="15" actId="20577"/>
          <ac:spMkLst>
            <pc:docMk/>
            <pc:sldMk cId="4204530140" sldId="872"/>
            <ac:spMk id="2" creationId="{E535505E-8CD6-4BD8-AEFD-EC3C1FF28257}"/>
          </ac:spMkLst>
        </pc:spChg>
      </pc:sldChg>
    </pc:docChg>
  </pc:docChgLst>
  <pc:docChgLst>
    <pc:chgData name="Butt, Henry" userId="S::097444@croydon.gov.uk::5ded9784-7b69-4809-b6c2-b1719bef27bf" providerId="AD" clId="Web-{31F60157-AE14-9FBF-52B9-18CC01BAF2AE}"/>
    <pc:docChg chg="addSld modSld">
      <pc:chgData name="Butt, Henry" userId="S::097444@croydon.gov.uk::5ded9784-7b69-4809-b6c2-b1719bef27bf" providerId="AD" clId="Web-{31F60157-AE14-9FBF-52B9-18CC01BAF2AE}" dt="2019-05-10T15:22:35.853" v="3144"/>
      <pc:docMkLst>
        <pc:docMk/>
      </pc:docMkLst>
      <pc:sldChg chg="addSp modSp">
        <pc:chgData name="Butt, Henry" userId="S::097444@croydon.gov.uk::5ded9784-7b69-4809-b6c2-b1719bef27bf" providerId="AD" clId="Web-{31F60157-AE14-9FBF-52B9-18CC01BAF2AE}" dt="2019-05-10T14:59:00.596" v="2221" actId="20577"/>
        <pc:sldMkLst>
          <pc:docMk/>
          <pc:sldMk cId="241086178" sldId="844"/>
        </pc:sldMkLst>
        <pc:spChg chg="mod">
          <ac:chgData name="Butt, Henry" userId="S::097444@croydon.gov.uk::5ded9784-7b69-4809-b6c2-b1719bef27bf" providerId="AD" clId="Web-{31F60157-AE14-9FBF-52B9-18CC01BAF2AE}" dt="2019-05-10T14:14:50.348" v="20" actId="20577"/>
          <ac:spMkLst>
            <pc:docMk/>
            <pc:sldMk cId="241086178" sldId="844"/>
            <ac:spMk id="2" creationId="{41137598-CD08-4C48-A92D-B67A5B821361}"/>
          </ac:spMkLst>
        </pc:spChg>
        <pc:spChg chg="mod">
          <ac:chgData name="Butt, Henry" userId="S::097444@croydon.gov.uk::5ded9784-7b69-4809-b6c2-b1719bef27bf" providerId="AD" clId="Web-{31F60157-AE14-9FBF-52B9-18CC01BAF2AE}" dt="2019-05-10T14:37:11.667" v="1340" actId="20577"/>
          <ac:spMkLst>
            <pc:docMk/>
            <pc:sldMk cId="241086178" sldId="844"/>
            <ac:spMk id="3" creationId="{5BD5EBC0-3539-4FF0-8889-0A9E3378A15D}"/>
          </ac:spMkLst>
        </pc:spChg>
        <pc:spChg chg="add mod">
          <ac:chgData name="Butt, Henry" userId="S::097444@croydon.gov.uk::5ded9784-7b69-4809-b6c2-b1719bef27bf" providerId="AD" clId="Web-{31F60157-AE14-9FBF-52B9-18CC01BAF2AE}" dt="2019-05-10T14:59:00.596" v="2221" actId="20577"/>
          <ac:spMkLst>
            <pc:docMk/>
            <pc:sldMk cId="241086178" sldId="844"/>
            <ac:spMk id="4" creationId="{6935F7E7-9836-4F41-A6FA-4BEF88107015}"/>
          </ac:spMkLst>
        </pc:spChg>
      </pc:sldChg>
      <pc:sldChg chg="addSp delSp modSp new modNotes">
        <pc:chgData name="Butt, Henry" userId="S::097444@croydon.gov.uk::5ded9784-7b69-4809-b6c2-b1719bef27bf" providerId="AD" clId="Web-{31F60157-AE14-9FBF-52B9-18CC01BAF2AE}" dt="2019-05-10T15:21:30.369" v="3067" actId="20577"/>
        <pc:sldMkLst>
          <pc:docMk/>
          <pc:sldMk cId="3029233649" sldId="847"/>
        </pc:sldMkLst>
        <pc:spChg chg="del">
          <ac:chgData name="Butt, Henry" userId="S::097444@croydon.gov.uk::5ded9784-7b69-4809-b6c2-b1719bef27bf" providerId="AD" clId="Web-{31F60157-AE14-9FBF-52B9-18CC01BAF2AE}" dt="2019-05-10T14:31:22.478" v="946"/>
          <ac:spMkLst>
            <pc:docMk/>
            <pc:sldMk cId="3029233649" sldId="847"/>
            <ac:spMk id="2" creationId="{266AAD2D-625C-4339-AA82-F61145B1D164}"/>
          </ac:spMkLst>
        </pc:spChg>
        <pc:spChg chg="mod">
          <ac:chgData name="Butt, Henry" userId="S::097444@croydon.gov.uk::5ded9784-7b69-4809-b6c2-b1719bef27bf" providerId="AD" clId="Web-{31F60157-AE14-9FBF-52B9-18CC01BAF2AE}" dt="2019-05-10T15:21:30.369" v="3067" actId="20577"/>
          <ac:spMkLst>
            <pc:docMk/>
            <pc:sldMk cId="3029233649" sldId="847"/>
            <ac:spMk id="3" creationId="{61674704-8D6F-4584-834B-589AE8AABDB8}"/>
          </ac:spMkLst>
        </pc:spChg>
        <pc:spChg chg="add mod">
          <ac:chgData name="Butt, Henry" userId="S::097444@croydon.gov.uk::5ded9784-7b69-4809-b6c2-b1719bef27bf" providerId="AD" clId="Web-{31F60157-AE14-9FBF-52B9-18CC01BAF2AE}" dt="2019-05-10T14:31:22.837" v="947"/>
          <ac:spMkLst>
            <pc:docMk/>
            <pc:sldMk cId="3029233649" sldId="847"/>
            <ac:spMk id="5" creationId="{1AE1780B-8866-47D4-838F-EBCB0966D99D}"/>
          </ac:spMkLst>
        </pc:spChg>
        <pc:spChg chg="add mod">
          <ac:chgData name="Butt, Henry" userId="S::097444@croydon.gov.uk::5ded9784-7b69-4809-b6c2-b1719bef27bf" providerId="AD" clId="Web-{31F60157-AE14-9FBF-52B9-18CC01BAF2AE}" dt="2019-05-10T14:37:33.449" v="1342" actId="20577"/>
          <ac:spMkLst>
            <pc:docMk/>
            <pc:sldMk cId="3029233649" sldId="847"/>
            <ac:spMk id="7" creationId="{BFFCF9F7-5DCB-4704-80A9-E9EF478C1648}"/>
          </ac:spMkLst>
        </pc:spChg>
      </pc:sldChg>
      <pc:sldChg chg="addSp delSp modSp new modNotes">
        <pc:chgData name="Butt, Henry" userId="S::097444@croydon.gov.uk::5ded9784-7b69-4809-b6c2-b1719bef27bf" providerId="AD" clId="Web-{31F60157-AE14-9FBF-52B9-18CC01BAF2AE}" dt="2019-05-10T15:22:35.853" v="3144"/>
        <pc:sldMkLst>
          <pc:docMk/>
          <pc:sldMk cId="3028281085" sldId="848"/>
        </pc:sldMkLst>
        <pc:spChg chg="mod">
          <ac:chgData name="Butt, Henry" userId="S::097444@croydon.gov.uk::5ded9784-7b69-4809-b6c2-b1719bef27bf" providerId="AD" clId="Web-{31F60157-AE14-9FBF-52B9-18CC01BAF2AE}" dt="2019-05-10T14:46:35.873" v="1396" actId="1076"/>
          <ac:spMkLst>
            <pc:docMk/>
            <pc:sldMk cId="3028281085" sldId="848"/>
            <ac:spMk id="2" creationId="{C893FF65-77ED-4074-BEB2-FBFBE316FBA5}"/>
          </ac:spMkLst>
        </pc:spChg>
        <pc:spChg chg="del">
          <ac:chgData name="Butt, Henry" userId="S::097444@croydon.gov.uk::5ded9784-7b69-4809-b6c2-b1719bef27bf" providerId="AD" clId="Web-{31F60157-AE14-9FBF-52B9-18CC01BAF2AE}" dt="2019-05-10T14:45:36.264" v="1373"/>
          <ac:spMkLst>
            <pc:docMk/>
            <pc:sldMk cId="3028281085" sldId="848"/>
            <ac:spMk id="3" creationId="{382A6C0D-C5B0-42CB-B580-68990615EAA6}"/>
          </ac:spMkLst>
        </pc:spChg>
        <pc:spChg chg="add del mod">
          <ac:chgData name="Butt, Henry" userId="S::097444@croydon.gov.uk::5ded9784-7b69-4809-b6c2-b1719bef27bf" providerId="AD" clId="Web-{31F60157-AE14-9FBF-52B9-18CC01BAF2AE}" dt="2019-05-10T14:46:00.889" v="1380"/>
          <ac:spMkLst>
            <pc:docMk/>
            <pc:sldMk cId="3028281085" sldId="848"/>
            <ac:spMk id="4" creationId="{41FFC3DE-41B0-4947-B7D8-42CDF2A03F3E}"/>
          </ac:spMkLst>
        </pc:spChg>
        <pc:spChg chg="add mod">
          <ac:chgData name="Butt, Henry" userId="S::097444@croydon.gov.uk::5ded9784-7b69-4809-b6c2-b1719bef27bf" providerId="AD" clId="Web-{31F60157-AE14-9FBF-52B9-18CC01BAF2AE}" dt="2019-05-10T15:04:51.535" v="2895" actId="20577"/>
          <ac:spMkLst>
            <pc:docMk/>
            <pc:sldMk cId="3028281085" sldId="848"/>
            <ac:spMk id="5" creationId="{AB7D1BCC-E5EE-4F45-8F03-5970B4CB7153}"/>
          </ac:spMkLst>
        </pc:spChg>
        <pc:spChg chg="add mod">
          <ac:chgData name="Butt, Henry" userId="S::097444@croydon.gov.uk::5ded9784-7b69-4809-b6c2-b1719bef27bf" providerId="AD" clId="Web-{31F60157-AE14-9FBF-52B9-18CC01BAF2AE}" dt="2019-05-10T15:22:28.525" v="3137" actId="20577"/>
          <ac:spMkLst>
            <pc:docMk/>
            <pc:sldMk cId="3028281085" sldId="848"/>
            <ac:spMk id="6" creationId="{3DF7A815-E329-49C6-849A-3BD5388E7459}"/>
          </ac:spMkLst>
        </pc:spChg>
      </pc:sldChg>
    </pc:docChg>
  </pc:docChgLst>
  <pc:docChgLst>
    <pc:chgData name="Bashford, Simon" userId="S::435015@croydon.gov.uk::0ccd7925-c24f-487a-959b-438507c9a4b7" providerId="AD" clId="Web-{114BBD23-A1CA-4A9A-B908-CB179EE4A02E}"/>
    <pc:docChg chg="modSld">
      <pc:chgData name="Bashford, Simon" userId="S::435015@croydon.gov.uk::0ccd7925-c24f-487a-959b-438507c9a4b7" providerId="AD" clId="Web-{114BBD23-A1CA-4A9A-B908-CB179EE4A02E}" dt="2019-05-17T14:17:31.794" v="327"/>
      <pc:docMkLst>
        <pc:docMk/>
      </pc:docMkLst>
      <pc:sldChg chg="addSp modSp">
        <pc:chgData name="Bashford, Simon" userId="S::435015@croydon.gov.uk::0ccd7925-c24f-487a-959b-438507c9a4b7" providerId="AD" clId="Web-{114BBD23-A1CA-4A9A-B908-CB179EE4A02E}" dt="2019-05-17T14:17:31.794" v="327"/>
        <pc:sldMkLst>
          <pc:docMk/>
          <pc:sldMk cId="3003548362" sldId="845"/>
        </pc:sldMkLst>
        <pc:spChg chg="mod">
          <ac:chgData name="Bashford, Simon" userId="S::435015@croydon.gov.uk::0ccd7925-c24f-487a-959b-438507c9a4b7" providerId="AD" clId="Web-{114BBD23-A1CA-4A9A-B908-CB179EE4A02E}" dt="2019-05-17T14:10:03.839" v="10" actId="20577"/>
          <ac:spMkLst>
            <pc:docMk/>
            <pc:sldMk cId="3003548362" sldId="845"/>
            <ac:spMk id="2" creationId="{951500AA-22E8-4C43-945A-BA9517550FDA}"/>
          </ac:spMkLst>
        </pc:spChg>
        <pc:graphicFrameChg chg="add mod modGraphic">
          <ac:chgData name="Bashford, Simon" userId="S::435015@croydon.gov.uk::0ccd7925-c24f-487a-959b-438507c9a4b7" providerId="AD" clId="Web-{114BBD23-A1CA-4A9A-B908-CB179EE4A02E}" dt="2019-05-17T14:17:31.794" v="327"/>
          <ac:graphicFrameMkLst>
            <pc:docMk/>
            <pc:sldMk cId="3003548362" sldId="845"/>
            <ac:graphicFrameMk id="4" creationId="{F982C95C-2230-4F73-BFFE-F3788E176981}"/>
          </ac:graphicFrameMkLst>
        </pc:graphicFrameChg>
      </pc:sldChg>
    </pc:docChg>
  </pc:docChgLst>
  <pc:docChgLst>
    <pc:chgData name="Butt, Henry" userId="S::097444@croydon.gov.uk::5ded9784-7b69-4809-b6c2-b1719bef27bf" providerId="AD" clId="Web-{4C2BD318-AC39-C381-2B7E-9E83609CEA32}"/>
    <pc:docChg chg="modSld">
      <pc:chgData name="Butt, Henry" userId="S::097444@croydon.gov.uk::5ded9784-7b69-4809-b6c2-b1719bef27bf" providerId="AD" clId="Web-{4C2BD318-AC39-C381-2B7E-9E83609CEA32}" dt="2019-05-15T12:23:06.816" v="20" actId="20577"/>
      <pc:docMkLst>
        <pc:docMk/>
      </pc:docMkLst>
      <pc:sldChg chg="modSp">
        <pc:chgData name="Butt, Henry" userId="S::097444@croydon.gov.uk::5ded9784-7b69-4809-b6c2-b1719bef27bf" providerId="AD" clId="Web-{4C2BD318-AC39-C381-2B7E-9E83609CEA32}" dt="2019-05-15T12:23:06.816" v="20" actId="20577"/>
        <pc:sldMkLst>
          <pc:docMk/>
          <pc:sldMk cId="3029233649" sldId="847"/>
        </pc:sldMkLst>
        <pc:spChg chg="mod">
          <ac:chgData name="Butt, Henry" userId="S::097444@croydon.gov.uk::5ded9784-7b69-4809-b6c2-b1719bef27bf" providerId="AD" clId="Web-{4C2BD318-AC39-C381-2B7E-9E83609CEA32}" dt="2019-05-15T12:23:06.816" v="20" actId="20577"/>
          <ac:spMkLst>
            <pc:docMk/>
            <pc:sldMk cId="3029233649" sldId="847"/>
            <ac:spMk id="3" creationId="{61674704-8D6F-4584-834B-589AE8AABDB8}"/>
          </ac:spMkLst>
        </pc:spChg>
      </pc:sldChg>
    </pc:docChg>
  </pc:docChgLst>
  <pc:docChgLst>
    <pc:chgData name="Talbot, Alex" userId="S::097445@croydon.gov.uk::2e359fc2-acc1-4d79-bd57-d83855c21d06" providerId="AD" clId="Web-{DA6C9ABA-AC8E-8A7F-D43F-F366EF3409A3}"/>
    <pc:docChg chg="modSld">
      <pc:chgData name="Talbot, Alex" userId="S::097445@croydon.gov.uk::2e359fc2-acc1-4d79-bd57-d83855c21d06" providerId="AD" clId="Web-{DA6C9ABA-AC8E-8A7F-D43F-F366EF3409A3}" dt="2019-05-16T16:18:05.533" v="1"/>
      <pc:docMkLst>
        <pc:docMk/>
      </pc:docMkLst>
      <pc:sldChg chg="modSp">
        <pc:chgData name="Talbot, Alex" userId="S::097445@croydon.gov.uk::2e359fc2-acc1-4d79-bd57-d83855c21d06" providerId="AD" clId="Web-{DA6C9ABA-AC8E-8A7F-D43F-F366EF3409A3}" dt="2019-05-16T16:18:05.533" v="1"/>
        <pc:sldMkLst>
          <pc:docMk/>
          <pc:sldMk cId="2078240094" sldId="851"/>
        </pc:sldMkLst>
        <pc:spChg chg="mod">
          <ac:chgData name="Talbot, Alex" userId="S::097445@croydon.gov.uk::2e359fc2-acc1-4d79-bd57-d83855c21d06" providerId="AD" clId="Web-{DA6C9ABA-AC8E-8A7F-D43F-F366EF3409A3}" dt="2019-05-16T16:18:05.533" v="1"/>
          <ac:spMkLst>
            <pc:docMk/>
            <pc:sldMk cId="2078240094" sldId="851"/>
            <ac:spMk id="4" creationId="{06239909-9D7C-48FE-8306-8B6AD41B5EB7}"/>
          </ac:spMkLst>
        </pc:spChg>
      </pc:sldChg>
    </pc:docChg>
  </pc:docChgLst>
  <pc:docChgLst>
    <pc:chgData name="Handford, Gavin" userId="S::097600@croydon.gov.uk::2762523c-561f-4cff-8adc-44a15bce1ccb" providerId="AD" clId="Web-{C4F4E92C-BA09-344E-4960-4CD5ACC662A4}"/>
    <pc:docChg chg="modSld">
      <pc:chgData name="Handford, Gavin" userId="S::097600@croydon.gov.uk::2762523c-561f-4cff-8adc-44a15bce1ccb" providerId="AD" clId="Web-{C4F4E92C-BA09-344E-4960-4CD5ACC662A4}" dt="2019-05-17T14:07:26.348" v="261"/>
      <pc:docMkLst>
        <pc:docMk/>
      </pc:docMkLst>
      <pc:sldChg chg="modSp">
        <pc:chgData name="Handford, Gavin" userId="S::097600@croydon.gov.uk::2762523c-561f-4cff-8adc-44a15bce1ccb" providerId="AD" clId="Web-{C4F4E92C-BA09-344E-4960-4CD5ACC662A4}" dt="2019-05-17T13:45:33.563" v="41" actId="20577"/>
        <pc:sldMkLst>
          <pc:docMk/>
          <pc:sldMk cId="3029233649" sldId="847"/>
        </pc:sldMkLst>
        <pc:spChg chg="mod">
          <ac:chgData name="Handford, Gavin" userId="S::097600@croydon.gov.uk::2762523c-561f-4cff-8adc-44a15bce1ccb" providerId="AD" clId="Web-{C4F4E92C-BA09-344E-4960-4CD5ACC662A4}" dt="2019-05-17T13:45:33.563" v="41" actId="20577"/>
          <ac:spMkLst>
            <pc:docMk/>
            <pc:sldMk cId="3029233649" sldId="847"/>
            <ac:spMk id="3" creationId="{61674704-8D6F-4584-834B-589AE8AABDB8}"/>
          </ac:spMkLst>
        </pc:spChg>
      </pc:sldChg>
      <pc:sldChg chg="modSp">
        <pc:chgData name="Handford, Gavin" userId="S::097600@croydon.gov.uk::2762523c-561f-4cff-8adc-44a15bce1ccb" providerId="AD" clId="Web-{C4F4E92C-BA09-344E-4960-4CD5ACC662A4}" dt="2019-05-17T13:45:59.141" v="42" actId="20577"/>
        <pc:sldMkLst>
          <pc:docMk/>
          <pc:sldMk cId="3028281085" sldId="848"/>
        </pc:sldMkLst>
        <pc:spChg chg="mod">
          <ac:chgData name="Handford, Gavin" userId="S::097600@croydon.gov.uk::2762523c-561f-4cff-8adc-44a15bce1ccb" providerId="AD" clId="Web-{C4F4E92C-BA09-344E-4960-4CD5ACC662A4}" dt="2019-05-17T13:45:59.141" v="42" actId="20577"/>
          <ac:spMkLst>
            <pc:docMk/>
            <pc:sldMk cId="3028281085" sldId="848"/>
            <ac:spMk id="5" creationId="{AB7D1BCC-E5EE-4F45-8F03-5970B4CB7153}"/>
          </ac:spMkLst>
        </pc:spChg>
      </pc:sldChg>
      <pc:sldChg chg="modSp">
        <pc:chgData name="Handford, Gavin" userId="S::097600@croydon.gov.uk::2762523c-561f-4cff-8adc-44a15bce1ccb" providerId="AD" clId="Web-{C4F4E92C-BA09-344E-4960-4CD5ACC662A4}" dt="2019-05-17T13:47:39.376" v="188"/>
        <pc:sldMkLst>
          <pc:docMk/>
          <pc:sldMk cId="2078240094" sldId="851"/>
        </pc:sldMkLst>
        <pc:graphicFrameChg chg="mod modGraphic">
          <ac:chgData name="Handford, Gavin" userId="S::097600@croydon.gov.uk::2762523c-561f-4cff-8adc-44a15bce1ccb" providerId="AD" clId="Web-{C4F4E92C-BA09-344E-4960-4CD5ACC662A4}" dt="2019-05-17T13:47:39.376" v="188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modSp">
        <pc:chgData name="Handford, Gavin" userId="S::097600@croydon.gov.uk::2762523c-561f-4cff-8adc-44a15bce1ccb" providerId="AD" clId="Web-{C4F4E92C-BA09-344E-4960-4CD5ACC662A4}" dt="2019-05-17T14:07:26.348" v="261"/>
        <pc:sldMkLst>
          <pc:docMk/>
          <pc:sldMk cId="774521525" sldId="855"/>
        </pc:sldMkLst>
        <pc:graphicFrameChg chg="mod modGraphic">
          <ac:chgData name="Handford, Gavin" userId="S::097600@croydon.gov.uk::2762523c-561f-4cff-8adc-44a15bce1ccb" providerId="AD" clId="Web-{C4F4E92C-BA09-344E-4960-4CD5ACC662A4}" dt="2019-05-17T14:07:26.348" v="261"/>
          <ac:graphicFrameMkLst>
            <pc:docMk/>
            <pc:sldMk cId="774521525" sldId="855"/>
            <ac:graphicFrameMk id="4" creationId="{00000000-0000-0000-0000-000000000000}"/>
          </ac:graphicFrameMkLst>
        </pc:graphicFrameChg>
      </pc:sldChg>
      <pc:sldChg chg="modSp">
        <pc:chgData name="Handford, Gavin" userId="S::097600@croydon.gov.uk::2762523c-561f-4cff-8adc-44a15bce1ccb" providerId="AD" clId="Web-{C4F4E92C-BA09-344E-4960-4CD5ACC662A4}" dt="2019-05-17T13:54:40.846" v="194" actId="20577"/>
        <pc:sldMkLst>
          <pc:docMk/>
          <pc:sldMk cId="464678197" sldId="858"/>
        </pc:sldMkLst>
        <pc:spChg chg="mod">
          <ac:chgData name="Handford, Gavin" userId="S::097600@croydon.gov.uk::2762523c-561f-4cff-8adc-44a15bce1ccb" providerId="AD" clId="Web-{C4F4E92C-BA09-344E-4960-4CD5ACC662A4}" dt="2019-05-17T13:54:40.846" v="194" actId="20577"/>
          <ac:spMkLst>
            <pc:docMk/>
            <pc:sldMk cId="464678197" sldId="858"/>
            <ac:spMk id="3" creationId="{00000000-0000-0000-0000-000000000000}"/>
          </ac:spMkLst>
        </pc:spChg>
      </pc:sldChg>
      <pc:sldChg chg="modSp">
        <pc:chgData name="Handford, Gavin" userId="S::097600@croydon.gov.uk::2762523c-561f-4cff-8adc-44a15bce1ccb" providerId="AD" clId="Web-{C4F4E92C-BA09-344E-4960-4CD5ACC662A4}" dt="2019-05-17T13:44:17.078" v="30" actId="20577"/>
        <pc:sldMkLst>
          <pc:docMk/>
          <pc:sldMk cId="3046691822" sldId="865"/>
        </pc:sldMkLst>
        <pc:spChg chg="mod">
          <ac:chgData name="Handford, Gavin" userId="S::097600@croydon.gov.uk::2762523c-561f-4cff-8adc-44a15bce1ccb" providerId="AD" clId="Web-{C4F4E92C-BA09-344E-4960-4CD5ACC662A4}" dt="2019-05-17T13:44:17.078" v="30" actId="20577"/>
          <ac:spMkLst>
            <pc:docMk/>
            <pc:sldMk cId="3046691822" sldId="865"/>
            <ac:spMk id="12" creationId="{00000000-0000-0000-0000-000000000000}"/>
          </ac:spMkLst>
        </pc:spChg>
      </pc:sldChg>
    </pc:docChg>
  </pc:docChgLst>
  <pc:docChgLst>
    <pc:chgData name="Kenny, Saeeda" userId="S::380775@croydon.gov.uk::0e9b43d8-6b15-42e8-8f1d-862cf2488441" providerId="AD" clId="Web-{12E81086-5F5E-42D6-379F-2D8456F82E67}"/>
    <pc:docChg chg="modSld">
      <pc:chgData name="Kenny, Saeeda" userId="S::380775@croydon.gov.uk::0e9b43d8-6b15-42e8-8f1d-862cf2488441" providerId="AD" clId="Web-{12E81086-5F5E-42D6-379F-2D8456F82E67}" dt="2019-05-21T10:17:37.204" v="2" actId="1076"/>
      <pc:docMkLst>
        <pc:docMk/>
      </pc:docMkLst>
      <pc:sldChg chg="modSp">
        <pc:chgData name="Kenny, Saeeda" userId="S::380775@croydon.gov.uk::0e9b43d8-6b15-42e8-8f1d-862cf2488441" providerId="AD" clId="Web-{12E81086-5F5E-42D6-379F-2D8456F82E67}" dt="2019-05-21T10:17:37.204" v="2" actId="1076"/>
        <pc:sldMkLst>
          <pc:docMk/>
          <pc:sldMk cId="1734698269" sldId="850"/>
        </pc:sldMkLst>
        <pc:grpChg chg="mod">
          <ac:chgData name="Kenny, Saeeda" userId="S::380775@croydon.gov.uk::0e9b43d8-6b15-42e8-8f1d-862cf2488441" providerId="AD" clId="Web-{12E81086-5F5E-42D6-379F-2D8456F82E67}" dt="2019-05-21T10:17:37.204" v="2" actId="1076"/>
          <ac:grpSpMkLst>
            <pc:docMk/>
            <pc:sldMk cId="1734698269" sldId="850"/>
            <ac:grpSpMk id="7" creationId="{00000000-0000-0000-0000-000000000000}"/>
          </ac:grpSpMkLst>
        </pc:grpChg>
        <pc:grpChg chg="mod">
          <ac:chgData name="Kenny, Saeeda" userId="S::380775@croydon.gov.uk::0e9b43d8-6b15-42e8-8f1d-862cf2488441" providerId="AD" clId="Web-{12E81086-5F5E-42D6-379F-2D8456F82E67}" dt="2019-05-21T10:17:04.329" v="1" actId="1076"/>
          <ac:grpSpMkLst>
            <pc:docMk/>
            <pc:sldMk cId="1734698269" sldId="850"/>
            <ac:grpSpMk id="9" creationId="{00000000-0000-0000-0000-000000000000}"/>
          </ac:grpSpMkLst>
        </pc:grpChg>
      </pc:sldChg>
    </pc:docChg>
  </pc:docChgLst>
  <pc:docChgLst>
    <pc:chgData name="Warman, Sarah" userId="S::093060@croydon.gov.uk::8fe8745b-66ab-4633-a12d-af5c80ea93cc" providerId="AD" clId="Web-{B52437BD-FC3D-9A30-49A4-8B86E1D1BD3B}"/>
    <pc:docChg chg="modSld">
      <pc:chgData name="Warman, Sarah" userId="S::093060@croydon.gov.uk::8fe8745b-66ab-4633-a12d-af5c80ea93cc" providerId="AD" clId="Web-{B52437BD-FC3D-9A30-49A4-8B86E1D1BD3B}" dt="2019-05-17T10:57:22.613" v="422" actId="20577"/>
      <pc:docMkLst>
        <pc:docMk/>
      </pc:docMkLst>
      <pc:sldChg chg="modSp">
        <pc:chgData name="Warman, Sarah" userId="S::093060@croydon.gov.uk::8fe8745b-66ab-4633-a12d-af5c80ea93cc" providerId="AD" clId="Web-{B52437BD-FC3D-9A30-49A4-8B86E1D1BD3B}" dt="2019-05-17T10:46:38.665" v="124" actId="20577"/>
        <pc:sldMkLst>
          <pc:docMk/>
          <pc:sldMk cId="3029233649" sldId="847"/>
        </pc:sldMkLst>
        <pc:spChg chg="mod">
          <ac:chgData name="Warman, Sarah" userId="S::093060@croydon.gov.uk::8fe8745b-66ab-4633-a12d-af5c80ea93cc" providerId="AD" clId="Web-{B52437BD-FC3D-9A30-49A4-8B86E1D1BD3B}" dt="2019-05-17T10:46:38.665" v="124" actId="20577"/>
          <ac:spMkLst>
            <pc:docMk/>
            <pc:sldMk cId="3029233649" sldId="847"/>
            <ac:spMk id="2" creationId="{E13C09A2-BF22-408E-808F-4C571975810D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47:13.837" v="137" actId="20577"/>
        <pc:sldMkLst>
          <pc:docMk/>
          <pc:sldMk cId="3028281085" sldId="848"/>
        </pc:sldMkLst>
        <pc:spChg chg="mod">
          <ac:chgData name="Warman, Sarah" userId="S::093060@croydon.gov.uk::8fe8745b-66ab-4633-a12d-af5c80ea93cc" providerId="AD" clId="Web-{B52437BD-FC3D-9A30-49A4-8B86E1D1BD3B}" dt="2019-05-17T10:47:13.837" v="137" actId="20577"/>
          <ac:spMkLst>
            <pc:docMk/>
            <pc:sldMk cId="3028281085" sldId="848"/>
            <ac:spMk id="6" creationId="{3DF7A815-E329-49C6-849A-3BD5388E7459}"/>
          </ac:spMkLst>
        </pc:spChg>
      </pc:sldChg>
      <pc:sldChg chg="delSp modSp">
        <pc:chgData name="Warman, Sarah" userId="S::093060@croydon.gov.uk::8fe8745b-66ab-4633-a12d-af5c80ea93cc" providerId="AD" clId="Web-{B52437BD-FC3D-9A30-49A4-8B86E1D1BD3B}" dt="2019-05-17T10:47:23.868" v="142"/>
        <pc:sldMkLst>
          <pc:docMk/>
          <pc:sldMk cId="1734698269" sldId="850"/>
        </pc:sldMkLst>
        <pc:spChg chg="del mod">
          <ac:chgData name="Warman, Sarah" userId="S::093060@croydon.gov.uk::8fe8745b-66ab-4633-a12d-af5c80ea93cc" providerId="AD" clId="Web-{B52437BD-FC3D-9A30-49A4-8B86E1D1BD3B}" dt="2019-05-17T10:47:23.868" v="142"/>
          <ac:spMkLst>
            <pc:docMk/>
            <pc:sldMk cId="1734698269" sldId="850"/>
            <ac:spMk id="3" creationId="{00000000-0000-0000-0000-000000000000}"/>
          </ac:spMkLst>
        </pc:spChg>
      </pc:sldChg>
      <pc:sldChg chg="delSp modSp">
        <pc:chgData name="Warman, Sarah" userId="S::093060@croydon.gov.uk::8fe8745b-66ab-4633-a12d-af5c80ea93cc" providerId="AD" clId="Web-{B52437BD-FC3D-9A30-49A4-8B86E1D1BD3B}" dt="2019-05-17T10:51:40.022" v="338" actId="1076"/>
        <pc:sldMkLst>
          <pc:docMk/>
          <pc:sldMk cId="2078240094" sldId="851"/>
        </pc:sldMkLst>
        <pc:spChg chg="del mod">
          <ac:chgData name="Warman, Sarah" userId="S::093060@croydon.gov.uk::8fe8745b-66ab-4633-a12d-af5c80ea93cc" providerId="AD" clId="Web-{B52437BD-FC3D-9A30-49A4-8B86E1D1BD3B}" dt="2019-05-17T10:50:44.210" v="326"/>
          <ac:spMkLst>
            <pc:docMk/>
            <pc:sldMk cId="2078240094" sldId="851"/>
            <ac:spMk id="3" creationId="{291F436E-8F24-45B6-9922-36B8C51E5637}"/>
          </ac:spMkLst>
        </pc:spChg>
        <pc:graphicFrameChg chg="mod modGraphic">
          <ac:chgData name="Warman, Sarah" userId="S::093060@croydon.gov.uk::8fe8745b-66ab-4633-a12d-af5c80ea93cc" providerId="AD" clId="Web-{B52437BD-FC3D-9A30-49A4-8B86E1D1BD3B}" dt="2019-05-17T10:51:40.022" v="338" actId="1076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modSp">
        <pc:chgData name="Warman, Sarah" userId="S::093060@croydon.gov.uk::8fe8745b-66ab-4633-a12d-af5c80ea93cc" providerId="AD" clId="Web-{B52437BD-FC3D-9A30-49A4-8B86E1D1BD3B}" dt="2019-05-17T10:56:29.488" v="402" actId="20577"/>
        <pc:sldMkLst>
          <pc:docMk/>
          <pc:sldMk cId="777089977" sldId="853"/>
        </pc:sldMkLst>
        <pc:spChg chg="mod">
          <ac:chgData name="Warman, Sarah" userId="S::093060@croydon.gov.uk::8fe8745b-66ab-4633-a12d-af5c80ea93cc" providerId="AD" clId="Web-{B52437BD-FC3D-9A30-49A4-8B86E1D1BD3B}" dt="2019-05-17T10:56:29.488" v="402" actId="20577"/>
          <ac:spMkLst>
            <pc:docMk/>
            <pc:sldMk cId="777089977" sldId="853"/>
            <ac:spMk id="2" creationId="{8845CE91-1DCF-480D-AF7B-599FDAB39CC4}"/>
          </ac:spMkLst>
        </pc:spChg>
        <pc:spChg chg="mod">
          <ac:chgData name="Warman, Sarah" userId="S::093060@croydon.gov.uk::8fe8745b-66ab-4633-a12d-af5c80ea93cc" providerId="AD" clId="Web-{B52437BD-FC3D-9A30-49A4-8B86E1D1BD3B}" dt="2019-05-17T10:52:09.600" v="342" actId="20577"/>
          <ac:spMkLst>
            <pc:docMk/>
            <pc:sldMk cId="777089977" sldId="853"/>
            <ac:spMk id="3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55:46.770" v="394" actId="20577"/>
        <pc:sldMkLst>
          <pc:docMk/>
          <pc:sldMk cId="1593550025" sldId="856"/>
        </pc:sldMkLst>
        <pc:spChg chg="mod">
          <ac:chgData name="Warman, Sarah" userId="S::093060@croydon.gov.uk::8fe8745b-66ab-4633-a12d-af5c80ea93cc" providerId="AD" clId="Web-{B52437BD-FC3D-9A30-49A4-8B86E1D1BD3B}" dt="2019-05-17T10:55:46.770" v="394" actId="20577"/>
          <ac:spMkLst>
            <pc:docMk/>
            <pc:sldMk cId="1593550025" sldId="856"/>
            <ac:spMk id="7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56:11.067" v="396" actId="20577"/>
        <pc:sldMkLst>
          <pc:docMk/>
          <pc:sldMk cId="1453544522" sldId="857"/>
        </pc:sldMkLst>
        <pc:spChg chg="mod">
          <ac:chgData name="Warman, Sarah" userId="S::093060@croydon.gov.uk::8fe8745b-66ab-4633-a12d-af5c80ea93cc" providerId="AD" clId="Web-{B52437BD-FC3D-9A30-49A4-8B86E1D1BD3B}" dt="2019-05-17T10:56:11.067" v="396" actId="20577"/>
          <ac:spMkLst>
            <pc:docMk/>
            <pc:sldMk cId="1453544522" sldId="857"/>
            <ac:spMk id="2" creationId="{951500AA-22E8-4C43-945A-BA9517550FDA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56:39.301" v="407" actId="20577"/>
        <pc:sldMkLst>
          <pc:docMk/>
          <pc:sldMk cId="464678197" sldId="858"/>
        </pc:sldMkLst>
        <pc:spChg chg="mod">
          <ac:chgData name="Warman, Sarah" userId="S::093060@croydon.gov.uk::8fe8745b-66ab-4633-a12d-af5c80ea93cc" providerId="AD" clId="Web-{B52437BD-FC3D-9A30-49A4-8B86E1D1BD3B}" dt="2019-05-17T10:56:39.301" v="407" actId="20577"/>
          <ac:spMkLst>
            <pc:docMk/>
            <pc:sldMk cId="464678197" sldId="858"/>
            <ac:spMk id="2" creationId="{8845CE91-1DCF-480D-AF7B-599FDAB39CC4}"/>
          </ac:spMkLst>
        </pc:spChg>
        <pc:spChg chg="mod">
          <ac:chgData name="Warman, Sarah" userId="S::093060@croydon.gov.uk::8fe8745b-66ab-4633-a12d-af5c80ea93cc" providerId="AD" clId="Web-{B52437BD-FC3D-9A30-49A4-8B86E1D1BD3B}" dt="2019-05-17T10:53:39.568" v="349" actId="20577"/>
          <ac:spMkLst>
            <pc:docMk/>
            <pc:sldMk cId="464678197" sldId="858"/>
            <ac:spMk id="3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45:59.275" v="120" actId="20577"/>
        <pc:sldMkLst>
          <pc:docMk/>
          <pc:sldMk cId="3046691822" sldId="865"/>
        </pc:sldMkLst>
        <pc:spChg chg="mod">
          <ac:chgData name="Warman, Sarah" userId="S::093060@croydon.gov.uk::8fe8745b-66ab-4633-a12d-af5c80ea93cc" providerId="AD" clId="Web-{B52437BD-FC3D-9A30-49A4-8B86E1D1BD3B}" dt="2019-05-17T10:45:59.275" v="120" actId="20577"/>
          <ac:spMkLst>
            <pc:docMk/>
            <pc:sldMk cId="3046691822" sldId="865"/>
            <ac:spMk id="12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56:51.223" v="413" actId="20577"/>
        <pc:sldMkLst>
          <pc:docMk/>
          <pc:sldMk cId="3448438436" sldId="868"/>
        </pc:sldMkLst>
        <pc:spChg chg="mod">
          <ac:chgData name="Warman, Sarah" userId="S::093060@croydon.gov.uk::8fe8745b-66ab-4633-a12d-af5c80ea93cc" providerId="AD" clId="Web-{B52437BD-FC3D-9A30-49A4-8B86E1D1BD3B}" dt="2019-05-17T10:56:51.223" v="413" actId="20577"/>
          <ac:spMkLst>
            <pc:docMk/>
            <pc:sldMk cId="3448438436" sldId="868"/>
            <ac:spMk id="2" creationId="{8845CE91-1DCF-480D-AF7B-599FDAB39CC4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54:17.396" v="370" actId="20577"/>
        <pc:sldMkLst>
          <pc:docMk/>
          <pc:sldMk cId="1449005804" sldId="869"/>
        </pc:sldMkLst>
        <pc:spChg chg="mod">
          <ac:chgData name="Warman, Sarah" userId="S::093060@croydon.gov.uk::8fe8745b-66ab-4633-a12d-af5c80ea93cc" providerId="AD" clId="Web-{B52437BD-FC3D-9A30-49A4-8B86E1D1BD3B}" dt="2019-05-17T10:54:17.396" v="370" actId="20577"/>
          <ac:spMkLst>
            <pc:docMk/>
            <pc:sldMk cId="1449005804" sldId="869"/>
            <ac:spMk id="3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57:22.613" v="422" actId="20577"/>
        <pc:sldMkLst>
          <pc:docMk/>
          <pc:sldMk cId="2921125348" sldId="870"/>
        </pc:sldMkLst>
        <pc:spChg chg="mod">
          <ac:chgData name="Warman, Sarah" userId="S::093060@croydon.gov.uk::8fe8745b-66ab-4633-a12d-af5c80ea93cc" providerId="AD" clId="Web-{B52437BD-FC3D-9A30-49A4-8B86E1D1BD3B}" dt="2019-05-17T10:57:22.613" v="422" actId="20577"/>
          <ac:spMkLst>
            <pc:docMk/>
            <pc:sldMk cId="2921125348" sldId="870"/>
            <ac:spMk id="2" creationId="{00000000-0000-0000-0000-000000000000}"/>
          </ac:spMkLst>
        </pc:spChg>
      </pc:sldChg>
    </pc:docChg>
  </pc:docChgLst>
  <pc:docChgLst>
    <pc:chgData name="Dave-Shah, Rakhee" userId="S::496895@croydon.gov.uk::25d1a59a-41d9-441f-a3f5-290f77ee298e" providerId="AD" clId="Web-{F609DBB8-1C49-709E-E5AA-3E68C2BFA5DB}"/>
    <pc:docChg chg="modSld">
      <pc:chgData name="Dave-Shah, Rakhee" userId="S::496895@croydon.gov.uk::25d1a59a-41d9-441f-a3f5-290f77ee298e" providerId="AD" clId="Web-{F609DBB8-1C49-709E-E5AA-3E68C2BFA5DB}" dt="2019-05-17T16:37:46.612" v="21"/>
      <pc:docMkLst>
        <pc:docMk/>
      </pc:docMkLst>
      <pc:sldChg chg="modSp">
        <pc:chgData name="Dave-Shah, Rakhee" userId="S::496895@croydon.gov.uk::25d1a59a-41d9-441f-a3f5-290f77ee298e" providerId="AD" clId="Web-{F609DBB8-1C49-709E-E5AA-3E68C2BFA5DB}" dt="2019-05-17T16:28:30.838" v="10" actId="20577"/>
        <pc:sldMkLst>
          <pc:docMk/>
          <pc:sldMk cId="3028281085" sldId="848"/>
        </pc:sldMkLst>
        <pc:spChg chg="mod">
          <ac:chgData name="Dave-Shah, Rakhee" userId="S::496895@croydon.gov.uk::25d1a59a-41d9-441f-a3f5-290f77ee298e" providerId="AD" clId="Web-{F609DBB8-1C49-709E-E5AA-3E68C2BFA5DB}" dt="2019-05-17T16:28:30.838" v="10" actId="20577"/>
          <ac:spMkLst>
            <pc:docMk/>
            <pc:sldMk cId="3028281085" sldId="848"/>
            <ac:spMk id="6" creationId="{3DF7A815-E329-49C6-849A-3BD5388E7459}"/>
          </ac:spMkLst>
        </pc:spChg>
      </pc:sldChg>
      <pc:sldChg chg="modSp">
        <pc:chgData name="Dave-Shah, Rakhee" userId="S::496895@croydon.gov.uk::25d1a59a-41d9-441f-a3f5-290f77ee298e" providerId="AD" clId="Web-{F609DBB8-1C49-709E-E5AA-3E68C2BFA5DB}" dt="2019-05-17T16:37:46.612" v="21"/>
        <pc:sldMkLst>
          <pc:docMk/>
          <pc:sldMk cId="1734698269" sldId="850"/>
        </pc:sldMkLst>
        <pc:graphicFrameChg chg="mod modGraphic">
          <ac:chgData name="Dave-Shah, Rakhee" userId="S::496895@croydon.gov.uk::25d1a59a-41d9-441f-a3f5-290f77ee298e" providerId="AD" clId="Web-{F609DBB8-1C49-709E-E5AA-3E68C2BFA5DB}" dt="2019-05-17T16:37:46.612" v="21"/>
          <ac:graphicFrameMkLst>
            <pc:docMk/>
            <pc:sldMk cId="1734698269" sldId="850"/>
            <ac:graphicFrameMk id="12" creationId="{00000000-0000-0000-0000-000000000000}"/>
          </ac:graphicFrameMkLst>
        </pc:graphicFrameChg>
      </pc:sldChg>
    </pc:docChg>
  </pc:docChgLst>
  <pc:docChgLst>
    <pc:chgData name="Butt, Henry" userId="S::097444@croydon.gov.uk::5ded9784-7b69-4809-b6c2-b1719bef27bf" providerId="AD" clId="Web-{437F3A57-A55D-254B-AD11-DB05F9470E06}"/>
    <pc:docChg chg="modSld">
      <pc:chgData name="Butt, Henry" userId="S::097444@croydon.gov.uk::5ded9784-7b69-4809-b6c2-b1719bef27bf" providerId="AD" clId="Web-{437F3A57-A55D-254B-AD11-DB05F9470E06}" dt="2019-05-15T12:23:55.193" v="2" actId="20577"/>
      <pc:docMkLst>
        <pc:docMk/>
      </pc:docMkLst>
      <pc:sldChg chg="modSp">
        <pc:chgData name="Butt, Henry" userId="S::097444@croydon.gov.uk::5ded9784-7b69-4809-b6c2-b1719bef27bf" providerId="AD" clId="Web-{437F3A57-A55D-254B-AD11-DB05F9470E06}" dt="2019-05-15T12:23:55.193" v="2" actId="20577"/>
        <pc:sldMkLst>
          <pc:docMk/>
          <pc:sldMk cId="3029233649" sldId="847"/>
        </pc:sldMkLst>
        <pc:spChg chg="mod">
          <ac:chgData name="Butt, Henry" userId="S::097444@croydon.gov.uk::5ded9784-7b69-4809-b6c2-b1719bef27bf" providerId="AD" clId="Web-{437F3A57-A55D-254B-AD11-DB05F9470E06}" dt="2019-05-15T12:23:55.193" v="2" actId="20577"/>
          <ac:spMkLst>
            <pc:docMk/>
            <pc:sldMk cId="3029233649" sldId="847"/>
            <ac:spMk id="3" creationId="{61674704-8D6F-4584-834B-589AE8AABDB8}"/>
          </ac:spMkLst>
        </pc:spChg>
      </pc:sldChg>
    </pc:docChg>
  </pc:docChgLst>
  <pc:docChgLst>
    <pc:chgData name="Dave-Shah, Rakhee" userId="S::496895@croydon.gov.uk::25d1a59a-41d9-441f-a3f5-290f77ee298e" providerId="AD" clId="Web-{040839BF-CD6D-8237-8980-F4F5609C8D78}"/>
    <pc:docChg chg="modSld">
      <pc:chgData name="Dave-Shah, Rakhee" userId="S::496895@croydon.gov.uk::25d1a59a-41d9-441f-a3f5-290f77ee298e" providerId="AD" clId="Web-{040839BF-CD6D-8237-8980-F4F5609C8D78}" dt="2019-05-17T16:43:51.469" v="2" actId="20577"/>
      <pc:docMkLst>
        <pc:docMk/>
      </pc:docMkLst>
      <pc:sldChg chg="modSp">
        <pc:chgData name="Dave-Shah, Rakhee" userId="S::496895@croydon.gov.uk::25d1a59a-41d9-441f-a3f5-290f77ee298e" providerId="AD" clId="Web-{040839BF-CD6D-8237-8980-F4F5609C8D78}" dt="2019-05-17T16:43:51.469" v="2" actId="20577"/>
        <pc:sldMkLst>
          <pc:docMk/>
          <pc:sldMk cId="1449005804" sldId="869"/>
        </pc:sldMkLst>
        <pc:spChg chg="mod">
          <ac:chgData name="Dave-Shah, Rakhee" userId="S::496895@croydon.gov.uk::25d1a59a-41d9-441f-a3f5-290f77ee298e" providerId="AD" clId="Web-{040839BF-CD6D-8237-8980-F4F5609C8D78}" dt="2019-05-17T16:43:51.469" v="2" actId="20577"/>
          <ac:spMkLst>
            <pc:docMk/>
            <pc:sldMk cId="1449005804" sldId="869"/>
            <ac:spMk id="3" creationId="{00000000-0000-0000-0000-000000000000}"/>
          </ac:spMkLst>
        </pc:spChg>
      </pc:sldChg>
    </pc:docChg>
  </pc:docChgLst>
  <pc:docChgLst>
    <pc:chgData name="Talbot, Alex" userId="S::097445@croydon.gov.uk::2e359fc2-acc1-4d79-bd57-d83855c21d06" providerId="AD" clId="Web-{F4680309-B0A0-863D-F1F3-EFF1944E2C99}"/>
    <pc:docChg chg="modSld">
      <pc:chgData name="Talbot, Alex" userId="S::097445@croydon.gov.uk::2e359fc2-acc1-4d79-bd57-d83855c21d06" providerId="AD" clId="Web-{F4680309-B0A0-863D-F1F3-EFF1944E2C99}" dt="2019-05-16T16:17:15.575" v="685"/>
      <pc:docMkLst>
        <pc:docMk/>
      </pc:docMkLst>
      <pc:sldChg chg="delSp modSp">
        <pc:chgData name="Talbot, Alex" userId="S::097445@croydon.gov.uk::2e359fc2-acc1-4d79-bd57-d83855c21d06" providerId="AD" clId="Web-{F4680309-B0A0-863D-F1F3-EFF1944E2C99}" dt="2019-05-16T16:03:23.898" v="289" actId="20577"/>
        <pc:sldMkLst>
          <pc:docMk/>
          <pc:sldMk cId="3028281085" sldId="848"/>
        </pc:sldMkLst>
        <pc:spChg chg="mod">
          <ac:chgData name="Talbot, Alex" userId="S::097445@croydon.gov.uk::2e359fc2-acc1-4d79-bd57-d83855c21d06" providerId="AD" clId="Web-{F4680309-B0A0-863D-F1F3-EFF1944E2C99}" dt="2019-05-16T15:59:20.927" v="163" actId="1076"/>
          <ac:spMkLst>
            <pc:docMk/>
            <pc:sldMk cId="3028281085" sldId="848"/>
            <ac:spMk id="2" creationId="{C893FF65-77ED-4074-BEB2-FBFBE316FBA5}"/>
          </ac:spMkLst>
        </pc:spChg>
        <pc:spChg chg="del mod">
          <ac:chgData name="Talbot, Alex" userId="S::097445@croydon.gov.uk::2e359fc2-acc1-4d79-bd57-d83855c21d06" providerId="AD" clId="Web-{F4680309-B0A0-863D-F1F3-EFF1944E2C99}" dt="2019-05-16T16:03:07.616" v="276"/>
          <ac:spMkLst>
            <pc:docMk/>
            <pc:sldMk cId="3028281085" sldId="848"/>
            <ac:spMk id="3" creationId="{B8FCC916-B10E-45A8-A12D-2B791F6E9D19}"/>
          </ac:spMkLst>
        </pc:spChg>
        <pc:spChg chg="mod">
          <ac:chgData name="Talbot, Alex" userId="S::097445@croydon.gov.uk::2e359fc2-acc1-4d79-bd57-d83855c21d06" providerId="AD" clId="Web-{F4680309-B0A0-863D-F1F3-EFF1944E2C99}" dt="2019-05-16T15:59:22.021" v="164" actId="1076"/>
          <ac:spMkLst>
            <pc:docMk/>
            <pc:sldMk cId="3028281085" sldId="848"/>
            <ac:spMk id="5" creationId="{AB7D1BCC-E5EE-4F45-8F03-5970B4CB7153}"/>
          </ac:spMkLst>
        </pc:spChg>
        <pc:spChg chg="mod">
          <ac:chgData name="Talbot, Alex" userId="S::097445@croydon.gov.uk::2e359fc2-acc1-4d79-bd57-d83855c21d06" providerId="AD" clId="Web-{F4680309-B0A0-863D-F1F3-EFF1944E2C99}" dt="2019-05-16T16:03:23.898" v="289" actId="20577"/>
          <ac:spMkLst>
            <pc:docMk/>
            <pc:sldMk cId="3028281085" sldId="848"/>
            <ac:spMk id="6" creationId="{3DF7A815-E329-49C6-849A-3BD5388E7459}"/>
          </ac:spMkLst>
        </pc:spChg>
      </pc:sldChg>
      <pc:sldChg chg="addSp delSp modSp">
        <pc:chgData name="Talbot, Alex" userId="S::097445@croydon.gov.uk::2e359fc2-acc1-4d79-bd57-d83855c21d06" providerId="AD" clId="Web-{F4680309-B0A0-863D-F1F3-EFF1944E2C99}" dt="2019-05-16T16:17:15.575" v="685"/>
        <pc:sldMkLst>
          <pc:docMk/>
          <pc:sldMk cId="2078240094" sldId="851"/>
        </pc:sldMkLst>
        <pc:spChg chg="add del mod">
          <ac:chgData name="Talbot, Alex" userId="S::097445@croydon.gov.uk::2e359fc2-acc1-4d79-bd57-d83855c21d06" providerId="AD" clId="Web-{F4680309-B0A0-863D-F1F3-EFF1944E2C99}" dt="2019-05-16T16:16:25.465" v="674"/>
          <ac:spMkLst>
            <pc:docMk/>
            <pc:sldMk cId="2078240094" sldId="851"/>
            <ac:spMk id="3" creationId="{94616255-A588-488C-B6B0-FE1DBB3BCA59}"/>
          </ac:spMkLst>
        </pc:spChg>
        <pc:spChg chg="add mod">
          <ac:chgData name="Talbot, Alex" userId="S::097445@croydon.gov.uk::2e359fc2-acc1-4d79-bd57-d83855c21d06" providerId="AD" clId="Web-{F4680309-B0A0-863D-F1F3-EFF1944E2C99}" dt="2019-05-16T16:17:15.575" v="685"/>
          <ac:spMkLst>
            <pc:docMk/>
            <pc:sldMk cId="2078240094" sldId="851"/>
            <ac:spMk id="4" creationId="{06239909-9D7C-48FE-8306-8B6AD41B5EB7}"/>
          </ac:spMkLst>
        </pc:spChg>
        <pc:graphicFrameChg chg="mod modGraphic">
          <ac:chgData name="Talbot, Alex" userId="S::097445@croydon.gov.uk::2e359fc2-acc1-4d79-bd57-d83855c21d06" providerId="AD" clId="Web-{F4680309-B0A0-863D-F1F3-EFF1944E2C99}" dt="2019-05-16T16:15:37.746" v="667" actId="1076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addSp delSp modSp">
        <pc:chgData name="Talbot, Alex" userId="S::097445@croydon.gov.uk::2e359fc2-acc1-4d79-bd57-d83855c21d06" providerId="AD" clId="Web-{F4680309-B0A0-863D-F1F3-EFF1944E2C99}" dt="2019-05-16T16:15:06.293" v="663" actId="1076"/>
        <pc:sldMkLst>
          <pc:docMk/>
          <pc:sldMk cId="377194870" sldId="862"/>
        </pc:sldMkLst>
        <pc:spChg chg="mod">
          <ac:chgData name="Talbot, Alex" userId="S::097445@croydon.gov.uk::2e359fc2-acc1-4d79-bd57-d83855c21d06" providerId="AD" clId="Web-{F4680309-B0A0-863D-F1F3-EFF1944E2C99}" dt="2019-05-16T16:14:05.855" v="651" actId="20577"/>
          <ac:spMkLst>
            <pc:docMk/>
            <pc:sldMk cId="377194870" sldId="862"/>
            <ac:spMk id="2" creationId="{00000000-0000-0000-0000-000000000000}"/>
          </ac:spMkLst>
        </pc:spChg>
        <pc:spChg chg="add del mod">
          <ac:chgData name="Talbot, Alex" userId="S::097445@croydon.gov.uk::2e359fc2-acc1-4d79-bd57-d83855c21d06" providerId="AD" clId="Web-{F4680309-B0A0-863D-F1F3-EFF1944E2C99}" dt="2019-05-16T16:14:27.542" v="658"/>
          <ac:spMkLst>
            <pc:docMk/>
            <pc:sldMk cId="377194870" sldId="862"/>
            <ac:spMk id="5" creationId="{43267D06-6123-4DE2-B590-5956FC197EE1}"/>
          </ac:spMkLst>
        </pc:spChg>
        <pc:picChg chg="add mod">
          <ac:chgData name="Talbot, Alex" userId="S::097445@croydon.gov.uk::2e359fc2-acc1-4d79-bd57-d83855c21d06" providerId="AD" clId="Web-{F4680309-B0A0-863D-F1F3-EFF1944E2C99}" dt="2019-05-16T16:15:06.293" v="663" actId="1076"/>
          <ac:picMkLst>
            <pc:docMk/>
            <pc:sldMk cId="377194870" sldId="862"/>
            <ac:picMk id="3" creationId="{E942D9EE-7909-4ED3-BFF7-9EA66DD36132}"/>
          </ac:picMkLst>
        </pc:picChg>
      </pc:sldChg>
    </pc:docChg>
  </pc:docChgLst>
  <pc:docChgLst>
    <pc:chgData name="Risby,Sarah" userId="S::408901@croydon.gov.uk::434c49a4-c92f-4d4e-857a-80fdbf7500ae" providerId="AD" clId="Web-{91DF91AF-3666-AD80-9DA2-87C7D7D73B96}"/>
    <pc:docChg chg="addSld modSld sldOrd">
      <pc:chgData name="Risby,Sarah" userId="S::408901@croydon.gov.uk::434c49a4-c92f-4d4e-857a-80fdbf7500ae" providerId="AD" clId="Web-{91DF91AF-3666-AD80-9DA2-87C7D7D73B96}" dt="2019-05-15T11:56:02.840" v="7"/>
      <pc:docMkLst>
        <pc:docMk/>
      </pc:docMkLst>
      <pc:sldChg chg="addSp delSp modSp">
        <pc:chgData name="Risby,Sarah" userId="S::408901@croydon.gov.uk::434c49a4-c92f-4d4e-857a-80fdbf7500ae" providerId="AD" clId="Web-{91DF91AF-3666-AD80-9DA2-87C7D7D73B96}" dt="2019-05-15T11:55:23.465" v="3"/>
        <pc:sldMkLst>
          <pc:docMk/>
          <pc:sldMk cId="3759943738" sldId="846"/>
        </pc:sldMkLst>
        <pc:picChg chg="add del mod">
          <ac:chgData name="Risby,Sarah" userId="S::408901@croydon.gov.uk::434c49a4-c92f-4d4e-857a-80fdbf7500ae" providerId="AD" clId="Web-{91DF91AF-3666-AD80-9DA2-87C7D7D73B96}" dt="2019-05-15T11:55:23.465" v="3"/>
          <ac:picMkLst>
            <pc:docMk/>
            <pc:sldMk cId="3759943738" sldId="846"/>
            <ac:picMk id="3" creationId="{D09359FF-0939-4934-86FF-84FC31376B09}"/>
          </ac:picMkLst>
        </pc:picChg>
        <pc:picChg chg="add del mod">
          <ac:chgData name="Risby,Sarah" userId="S::408901@croydon.gov.uk::434c49a4-c92f-4d4e-857a-80fdbf7500ae" providerId="AD" clId="Web-{91DF91AF-3666-AD80-9DA2-87C7D7D73B96}" dt="2019-05-15T11:55:21.903" v="2"/>
          <ac:picMkLst>
            <pc:docMk/>
            <pc:sldMk cId="3759943738" sldId="846"/>
            <ac:picMk id="5" creationId="{2040CBDA-4021-4D2D-AB20-04E033DDF4C7}"/>
          </ac:picMkLst>
        </pc:picChg>
      </pc:sldChg>
      <pc:sldChg chg="addSp delSp modSp new ord">
        <pc:chgData name="Risby,Sarah" userId="S::408901@croydon.gov.uk::434c49a4-c92f-4d4e-857a-80fdbf7500ae" providerId="AD" clId="Web-{91DF91AF-3666-AD80-9DA2-87C7D7D73B96}" dt="2019-05-15T11:56:02.840" v="7"/>
        <pc:sldMkLst>
          <pc:docMk/>
          <pc:sldMk cId="596938243" sldId="849"/>
        </pc:sldMkLst>
        <pc:picChg chg="add del mod">
          <ac:chgData name="Risby,Sarah" userId="S::408901@croydon.gov.uk::434c49a4-c92f-4d4e-857a-80fdbf7500ae" providerId="AD" clId="Web-{91DF91AF-3666-AD80-9DA2-87C7D7D73B96}" dt="2019-05-15T11:56:02.840" v="7"/>
          <ac:picMkLst>
            <pc:docMk/>
            <pc:sldMk cId="596938243" sldId="849"/>
            <ac:picMk id="3" creationId="{44060550-7249-4F4F-B2FE-4C7FCCECF62C}"/>
          </ac:picMkLst>
        </pc:picChg>
      </pc:sldChg>
    </pc:docChg>
  </pc:docChgLst>
  <pc:docChgLst>
    <pc:chgData name="Handford, Gavin" userId="S::097600@croydon.gov.uk::2762523c-561f-4cff-8adc-44a15bce1ccb" providerId="AD" clId="Web-{ABDF770E-84B5-196D-02C3-2FE53638FB11}"/>
    <pc:docChg chg="modSld">
      <pc:chgData name="Handford, Gavin" userId="S::097600@croydon.gov.uk::2762523c-561f-4cff-8adc-44a15bce1ccb" providerId="AD" clId="Web-{ABDF770E-84B5-196D-02C3-2FE53638FB11}" dt="2019-05-17T14:40:48.586" v="26"/>
      <pc:docMkLst>
        <pc:docMk/>
      </pc:docMkLst>
      <pc:sldChg chg="modSp">
        <pc:chgData name="Handford, Gavin" userId="S::097600@croydon.gov.uk::2762523c-561f-4cff-8adc-44a15bce1ccb" providerId="AD" clId="Web-{ABDF770E-84B5-196D-02C3-2FE53638FB11}" dt="2019-05-17T14:40:11.133" v="22"/>
        <pc:sldMkLst>
          <pc:docMk/>
          <pc:sldMk cId="2078240094" sldId="851"/>
        </pc:sldMkLst>
        <pc:graphicFrameChg chg="mod modGraphic">
          <ac:chgData name="Handford, Gavin" userId="S::097600@croydon.gov.uk::2762523c-561f-4cff-8adc-44a15bce1ccb" providerId="AD" clId="Web-{ABDF770E-84B5-196D-02C3-2FE53638FB11}" dt="2019-05-17T14:40:11.133" v="22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modSp">
        <pc:chgData name="Handford, Gavin" userId="S::097600@croydon.gov.uk::2762523c-561f-4cff-8adc-44a15bce1ccb" providerId="AD" clId="Web-{ABDF770E-84B5-196D-02C3-2FE53638FB11}" dt="2019-05-17T14:40:48.586" v="26"/>
        <pc:sldMkLst>
          <pc:docMk/>
          <pc:sldMk cId="774521525" sldId="855"/>
        </pc:sldMkLst>
        <pc:graphicFrameChg chg="mod modGraphic">
          <ac:chgData name="Handford, Gavin" userId="S::097600@croydon.gov.uk::2762523c-561f-4cff-8adc-44a15bce1ccb" providerId="AD" clId="Web-{ABDF770E-84B5-196D-02C3-2FE53638FB11}" dt="2019-05-17T14:40:48.586" v="26"/>
          <ac:graphicFrameMkLst>
            <pc:docMk/>
            <pc:sldMk cId="774521525" sldId="855"/>
            <ac:graphicFrameMk id="4" creationId="{00000000-0000-0000-0000-000000000000}"/>
          </ac:graphicFrameMkLst>
        </pc:graphicFrameChg>
      </pc:sldChg>
    </pc:docChg>
  </pc:docChgLst>
  <pc:docChgLst>
    <pc:chgData name="Wheeler, Julie" userId="S::249225@croydon.gov.uk::845ae9f3-6c3c-40f1-a9ad-64c4bf2350e7" providerId="AD" clId="Web-{4556D956-59B6-3A1D-3A54-34402163D14D}"/>
    <pc:docChg chg="addSld modSld">
      <pc:chgData name="Wheeler, Julie" userId="S::249225@croydon.gov.uk::845ae9f3-6c3c-40f1-a9ad-64c4bf2350e7" providerId="AD" clId="Web-{4556D956-59B6-3A1D-3A54-34402163D14D}" dt="2019-05-09T08:35:14.555" v="94" actId="20577"/>
      <pc:docMkLst>
        <pc:docMk/>
      </pc:docMkLst>
      <pc:sldChg chg="modSp">
        <pc:chgData name="Wheeler, Julie" userId="S::249225@croydon.gov.uk::845ae9f3-6c3c-40f1-a9ad-64c4bf2350e7" providerId="AD" clId="Web-{4556D956-59B6-3A1D-3A54-34402163D14D}" dt="2019-05-09T08:33:44.524" v="13" actId="20577"/>
        <pc:sldMkLst>
          <pc:docMk/>
          <pc:sldMk cId="241086178" sldId="844"/>
        </pc:sldMkLst>
        <pc:spChg chg="mod">
          <ac:chgData name="Wheeler, Julie" userId="S::249225@croydon.gov.uk::845ae9f3-6c3c-40f1-a9ad-64c4bf2350e7" providerId="AD" clId="Web-{4556D956-59B6-3A1D-3A54-34402163D14D}" dt="2019-05-09T08:33:44.524" v="13" actId="20577"/>
          <ac:spMkLst>
            <pc:docMk/>
            <pc:sldMk cId="241086178" sldId="844"/>
            <ac:spMk id="2" creationId="{41137598-CD08-4C48-A92D-B67A5B821361}"/>
          </ac:spMkLst>
        </pc:spChg>
      </pc:sldChg>
      <pc:sldChg chg="modSp new">
        <pc:chgData name="Wheeler, Julie" userId="S::249225@croydon.gov.uk::845ae9f3-6c3c-40f1-a9ad-64c4bf2350e7" providerId="AD" clId="Web-{4556D956-59B6-3A1D-3A54-34402163D14D}" dt="2019-05-09T08:35:14.555" v="94" actId="20577"/>
        <pc:sldMkLst>
          <pc:docMk/>
          <pc:sldMk cId="3003548362" sldId="845"/>
        </pc:sldMkLst>
        <pc:spChg chg="mod">
          <ac:chgData name="Wheeler, Julie" userId="S::249225@croydon.gov.uk::845ae9f3-6c3c-40f1-a9ad-64c4bf2350e7" providerId="AD" clId="Web-{4556D956-59B6-3A1D-3A54-34402163D14D}" dt="2019-05-09T08:35:14.555" v="94" actId="20577"/>
          <ac:spMkLst>
            <pc:docMk/>
            <pc:sldMk cId="3003548362" sldId="845"/>
            <ac:spMk id="2" creationId="{951500AA-22E8-4C43-945A-BA9517550FDA}"/>
          </ac:spMkLst>
        </pc:spChg>
      </pc:sldChg>
      <pc:sldChg chg="modSp new">
        <pc:chgData name="Wheeler, Julie" userId="S::249225@croydon.gov.uk::845ae9f3-6c3c-40f1-a9ad-64c4bf2350e7" providerId="AD" clId="Web-{4556D956-59B6-3A1D-3A54-34402163D14D}" dt="2019-05-09T08:35:06.227" v="92" actId="20577"/>
        <pc:sldMkLst>
          <pc:docMk/>
          <pc:sldMk cId="3759943738" sldId="846"/>
        </pc:sldMkLst>
        <pc:spChg chg="mod">
          <ac:chgData name="Wheeler, Julie" userId="S::249225@croydon.gov.uk::845ae9f3-6c3c-40f1-a9ad-64c4bf2350e7" providerId="AD" clId="Web-{4556D956-59B6-3A1D-3A54-34402163D14D}" dt="2019-05-09T08:35:06.227" v="92" actId="20577"/>
          <ac:spMkLst>
            <pc:docMk/>
            <pc:sldMk cId="3759943738" sldId="846"/>
            <ac:spMk id="2" creationId="{F4D5E465-BCCB-44B0-A30E-848F13A667CD}"/>
          </ac:spMkLst>
        </pc:spChg>
      </pc:sldChg>
    </pc:docChg>
  </pc:docChgLst>
  <pc:docChgLst>
    <pc:chgData name="Risby,Sarah" userId="S::408901@croydon.gov.uk::434c49a4-c92f-4d4e-857a-80fdbf7500ae" providerId="AD" clId="Web-{897C012E-9B7F-E130-F1CC-2764C92CF902}"/>
    <pc:docChg chg="modSld">
      <pc:chgData name="Risby,Sarah" userId="S::408901@croydon.gov.uk::434c49a4-c92f-4d4e-857a-80fdbf7500ae" providerId="AD" clId="Web-{897C012E-9B7F-E130-F1CC-2764C92CF902}" dt="2019-05-16T13:29:26.440" v="0" actId="20577"/>
      <pc:docMkLst>
        <pc:docMk/>
      </pc:docMkLst>
      <pc:sldChg chg="modSp">
        <pc:chgData name="Risby,Sarah" userId="S::408901@croydon.gov.uk::434c49a4-c92f-4d4e-857a-80fdbf7500ae" providerId="AD" clId="Web-{897C012E-9B7F-E130-F1CC-2764C92CF902}" dt="2019-05-16T13:29:26.440" v="0" actId="20577"/>
        <pc:sldMkLst>
          <pc:docMk/>
          <pc:sldMk cId="2534692338" sldId="866"/>
        </pc:sldMkLst>
        <pc:spChg chg="mod">
          <ac:chgData name="Risby,Sarah" userId="S::408901@croydon.gov.uk::434c49a4-c92f-4d4e-857a-80fdbf7500ae" providerId="AD" clId="Web-{897C012E-9B7F-E130-F1CC-2764C92CF902}" dt="2019-05-16T13:29:26.440" v="0" actId="20577"/>
          <ac:spMkLst>
            <pc:docMk/>
            <pc:sldMk cId="2534692338" sldId="866"/>
            <ac:spMk id="2" creationId="{00000000-0000-0000-0000-000000000000}"/>
          </ac:spMkLst>
        </pc:spChg>
      </pc:sldChg>
    </pc:docChg>
  </pc:docChgLst>
  <pc:docChgLst>
    <pc:chgData name="Butt, Henry" userId="S::097444@croydon.gov.uk::5ded9784-7b69-4809-b6c2-b1719bef27bf" providerId="AD" clId="Web-{C83EC9DB-A828-A48B-A9C0-1A683D77176A}"/>
    <pc:docChg chg="modSld">
      <pc:chgData name="Butt, Henry" userId="S::097444@croydon.gov.uk::5ded9784-7b69-4809-b6c2-b1719bef27bf" providerId="AD" clId="Web-{C83EC9DB-A828-A48B-A9C0-1A683D77176A}" dt="2019-05-15T09:37:25.469" v="41" actId="20577"/>
      <pc:docMkLst>
        <pc:docMk/>
      </pc:docMkLst>
      <pc:sldChg chg="modSp modNotes">
        <pc:chgData name="Butt, Henry" userId="S::097444@croydon.gov.uk::5ded9784-7b69-4809-b6c2-b1719bef27bf" providerId="AD" clId="Web-{C83EC9DB-A828-A48B-A9C0-1A683D77176A}" dt="2019-05-15T09:37:04.484" v="36" actId="20577"/>
        <pc:sldMkLst>
          <pc:docMk/>
          <pc:sldMk cId="3029233649" sldId="847"/>
        </pc:sldMkLst>
        <pc:spChg chg="mod">
          <ac:chgData name="Butt, Henry" userId="S::097444@croydon.gov.uk::5ded9784-7b69-4809-b6c2-b1719bef27bf" providerId="AD" clId="Web-{C83EC9DB-A828-A48B-A9C0-1A683D77176A}" dt="2019-05-15T09:37:04.484" v="36" actId="20577"/>
          <ac:spMkLst>
            <pc:docMk/>
            <pc:sldMk cId="3029233649" sldId="847"/>
            <ac:spMk id="3" creationId="{61674704-8D6F-4584-834B-589AE8AABDB8}"/>
          </ac:spMkLst>
        </pc:spChg>
        <pc:spChg chg="mod">
          <ac:chgData name="Butt, Henry" userId="S::097444@croydon.gov.uk::5ded9784-7b69-4809-b6c2-b1719bef27bf" providerId="AD" clId="Web-{C83EC9DB-A828-A48B-A9C0-1A683D77176A}" dt="2019-05-15T09:36:20.860" v="23" actId="20577"/>
          <ac:spMkLst>
            <pc:docMk/>
            <pc:sldMk cId="3029233649" sldId="847"/>
            <ac:spMk id="7" creationId="{BFFCF9F7-5DCB-4704-80A9-E9EF478C1648}"/>
          </ac:spMkLst>
        </pc:spChg>
      </pc:sldChg>
      <pc:sldChg chg="modSp modNotes">
        <pc:chgData name="Butt, Henry" userId="S::097444@croydon.gov.uk::5ded9784-7b69-4809-b6c2-b1719bef27bf" providerId="AD" clId="Web-{C83EC9DB-A828-A48B-A9C0-1A683D77176A}" dt="2019-05-15T09:37:24.250" v="39" actId="20577"/>
        <pc:sldMkLst>
          <pc:docMk/>
          <pc:sldMk cId="3028281085" sldId="848"/>
        </pc:sldMkLst>
        <pc:spChg chg="mod">
          <ac:chgData name="Butt, Henry" userId="S::097444@croydon.gov.uk::5ded9784-7b69-4809-b6c2-b1719bef27bf" providerId="AD" clId="Web-{C83EC9DB-A828-A48B-A9C0-1A683D77176A}" dt="2019-05-15T09:37:24.250" v="39" actId="20577"/>
          <ac:spMkLst>
            <pc:docMk/>
            <pc:sldMk cId="3028281085" sldId="848"/>
            <ac:spMk id="6" creationId="{3DF7A815-E329-49C6-849A-3BD5388E7459}"/>
          </ac:spMkLst>
        </pc:spChg>
      </pc:sldChg>
    </pc:docChg>
  </pc:docChgLst>
  <pc:docChgLst>
    <pc:chgData name="Wheeler, Julie" userId="S::249225@croydon.gov.uk::845ae9f3-6c3c-40f1-a9ad-64c4bf2350e7" providerId="AD" clId="Web-{C58EE5A3-C9DE-9CE3-0445-1AC7D708EEB9}"/>
    <pc:docChg chg="addSld">
      <pc:chgData name="Wheeler, Julie" userId="S::249225@croydon.gov.uk::845ae9f3-6c3c-40f1-a9ad-64c4bf2350e7" providerId="AD" clId="Web-{C58EE5A3-C9DE-9CE3-0445-1AC7D708EEB9}" dt="2019-05-08T11:48:51.638" v="0"/>
      <pc:docMkLst>
        <pc:docMk/>
      </pc:docMkLst>
      <pc:sldChg chg="new">
        <pc:chgData name="Wheeler, Julie" userId="S::249225@croydon.gov.uk::845ae9f3-6c3c-40f1-a9ad-64c4bf2350e7" providerId="AD" clId="Web-{C58EE5A3-C9DE-9CE3-0445-1AC7D708EEB9}" dt="2019-05-08T11:48:51.638" v="0"/>
        <pc:sldMkLst>
          <pc:docMk/>
          <pc:sldMk cId="241086178" sldId="844"/>
        </pc:sldMkLst>
      </pc:sldChg>
    </pc:docChg>
  </pc:docChgLst>
  <pc:docChgLst>
    <pc:chgData name="Talbot, Alex" userId="S::097445@croydon.gov.uk::2e359fc2-acc1-4d79-bd57-d83855c21d06" providerId="AD" clId="Web-{09742C2D-3B96-23C4-C836-C9A18D98ADCD}"/>
    <pc:docChg chg="modSld sldOrd">
      <pc:chgData name="Talbot, Alex" userId="S::097445@croydon.gov.uk::2e359fc2-acc1-4d79-bd57-d83855c21d06" providerId="AD" clId="Web-{09742C2D-3B96-23C4-C836-C9A18D98ADCD}" dt="2019-05-16T16:58:35.331" v="2188"/>
      <pc:docMkLst>
        <pc:docMk/>
      </pc:docMkLst>
      <pc:sldChg chg="ord">
        <pc:chgData name="Talbot, Alex" userId="S::097445@croydon.gov.uk::2e359fc2-acc1-4d79-bd57-d83855c21d06" providerId="AD" clId="Web-{09742C2D-3B96-23C4-C836-C9A18D98ADCD}" dt="2019-05-16T16:35:49.983" v="817"/>
        <pc:sldMkLst>
          <pc:docMk/>
          <pc:sldMk cId="3003548362" sldId="845"/>
        </pc:sldMkLst>
      </pc:sldChg>
      <pc:sldChg chg="addSp delSp modSp">
        <pc:chgData name="Talbot, Alex" userId="S::097445@croydon.gov.uk::2e359fc2-acc1-4d79-bd57-d83855c21d06" providerId="AD" clId="Web-{09742C2D-3B96-23C4-C836-C9A18D98ADCD}" dt="2019-05-16T16:32:11.233" v="814" actId="20577"/>
        <pc:sldMkLst>
          <pc:docMk/>
          <pc:sldMk cId="2078240094" sldId="851"/>
        </pc:sldMkLst>
        <pc:spChg chg="add del mod">
          <ac:chgData name="Talbot, Alex" userId="S::097445@croydon.gov.uk::2e359fc2-acc1-4d79-bd57-d83855c21d06" providerId="AD" clId="Web-{09742C2D-3B96-23C4-C836-C9A18D98ADCD}" dt="2019-05-16T16:32:11.233" v="814" actId="20577"/>
          <ac:spMkLst>
            <pc:docMk/>
            <pc:sldMk cId="2078240094" sldId="851"/>
            <ac:spMk id="3" creationId="{291F436E-8F24-45B6-9922-36B8C51E5637}"/>
          </ac:spMkLst>
        </pc:spChg>
        <pc:spChg chg="del">
          <ac:chgData name="Talbot, Alex" userId="S::097445@croydon.gov.uk::2e359fc2-acc1-4d79-bd57-d83855c21d06" providerId="AD" clId="Web-{09742C2D-3B96-23C4-C836-C9A18D98ADCD}" dt="2019-05-16T16:19:03.152" v="0"/>
          <ac:spMkLst>
            <pc:docMk/>
            <pc:sldMk cId="2078240094" sldId="851"/>
            <ac:spMk id="4" creationId="{06239909-9D7C-48FE-8306-8B6AD41B5EB7}"/>
          </ac:spMkLst>
        </pc:spChg>
        <pc:spChg chg="add del mod">
          <ac:chgData name="Talbot, Alex" userId="S::097445@croydon.gov.uk::2e359fc2-acc1-4d79-bd57-d83855c21d06" providerId="AD" clId="Web-{09742C2D-3B96-23C4-C836-C9A18D98ADCD}" dt="2019-05-16T16:24:54.919" v="668"/>
          <ac:spMkLst>
            <pc:docMk/>
            <pc:sldMk cId="2078240094" sldId="851"/>
            <ac:spMk id="6" creationId="{6A699014-6375-41DD-9D7A-E6138B9C286E}"/>
          </ac:spMkLst>
        </pc:spChg>
        <pc:spChg chg="add del mod">
          <ac:chgData name="Talbot, Alex" userId="S::097445@croydon.gov.uk::2e359fc2-acc1-4d79-bd57-d83855c21d06" providerId="AD" clId="Web-{09742C2D-3B96-23C4-C836-C9A18D98ADCD}" dt="2019-05-16T16:24:48.028" v="663"/>
          <ac:spMkLst>
            <pc:docMk/>
            <pc:sldMk cId="2078240094" sldId="851"/>
            <ac:spMk id="7" creationId="{6FC836CF-F909-4F94-AA98-16A775F5FB01}"/>
          </ac:spMkLst>
        </pc:spChg>
        <pc:graphicFrameChg chg="mod modGraphic">
          <ac:chgData name="Talbot, Alex" userId="S::097445@croydon.gov.uk::2e359fc2-acc1-4d79-bd57-d83855c21d06" providerId="AD" clId="Web-{09742C2D-3B96-23C4-C836-C9A18D98ADCD}" dt="2019-05-16T16:25:06.607" v="691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addSp modSp">
        <pc:chgData name="Talbot, Alex" userId="S::097445@croydon.gov.uk::2e359fc2-acc1-4d79-bd57-d83855c21d06" providerId="AD" clId="Web-{09742C2D-3B96-23C4-C836-C9A18D98ADCD}" dt="2019-05-16T16:45:47.298" v="1647" actId="20577"/>
        <pc:sldMkLst>
          <pc:docMk/>
          <pc:sldMk cId="1453544522" sldId="857"/>
        </pc:sldMkLst>
        <pc:spChg chg="mod">
          <ac:chgData name="Talbot, Alex" userId="S::097445@croydon.gov.uk::2e359fc2-acc1-4d79-bd57-d83855c21d06" providerId="AD" clId="Web-{09742C2D-3B96-23C4-C836-C9A18D98ADCD}" dt="2019-05-16T16:45:47.298" v="1647" actId="20577"/>
          <ac:spMkLst>
            <pc:docMk/>
            <pc:sldMk cId="1453544522" sldId="857"/>
            <ac:spMk id="2" creationId="{951500AA-22E8-4C43-945A-BA9517550FDA}"/>
          </ac:spMkLst>
        </pc:spChg>
        <pc:spChg chg="add mod">
          <ac:chgData name="Talbot, Alex" userId="S::097445@croydon.gov.uk::2e359fc2-acc1-4d79-bd57-d83855c21d06" providerId="AD" clId="Web-{09742C2D-3B96-23C4-C836-C9A18D98ADCD}" dt="2019-05-16T16:43:28.110" v="1643" actId="20577"/>
          <ac:spMkLst>
            <pc:docMk/>
            <pc:sldMk cId="1453544522" sldId="857"/>
            <ac:spMk id="3" creationId="{D267773A-49D4-4172-B174-06D991F94DF1}"/>
          </ac:spMkLst>
        </pc:spChg>
      </pc:sldChg>
      <pc:sldChg chg="addSp delSp modSp ord">
        <pc:chgData name="Talbot, Alex" userId="S::097445@croydon.gov.uk::2e359fc2-acc1-4d79-bd57-d83855c21d06" providerId="AD" clId="Web-{09742C2D-3B96-23C4-C836-C9A18D98ADCD}" dt="2019-05-16T16:58:35.331" v="2188"/>
        <pc:sldMkLst>
          <pc:docMk/>
          <pc:sldMk cId="3796351993" sldId="863"/>
        </pc:sldMkLst>
        <pc:spChg chg="mod">
          <ac:chgData name="Talbot, Alex" userId="S::097445@croydon.gov.uk::2e359fc2-acc1-4d79-bd57-d83855c21d06" providerId="AD" clId="Web-{09742C2D-3B96-23C4-C836-C9A18D98ADCD}" dt="2019-05-16T16:47:15.832" v="1717" actId="14100"/>
          <ac:spMkLst>
            <pc:docMk/>
            <pc:sldMk cId="3796351993" sldId="863"/>
            <ac:spMk id="2" creationId="{951500AA-22E8-4C43-945A-BA9517550FDA}"/>
          </ac:spMkLst>
        </pc:spChg>
        <pc:spChg chg="add del mod">
          <ac:chgData name="Talbot, Alex" userId="S::097445@croydon.gov.uk::2e359fc2-acc1-4d79-bd57-d83855c21d06" providerId="AD" clId="Web-{09742C2D-3B96-23C4-C836-C9A18D98ADCD}" dt="2019-05-16T16:38:41.906" v="833"/>
          <ac:spMkLst>
            <pc:docMk/>
            <pc:sldMk cId="3796351993" sldId="863"/>
            <ac:spMk id="3" creationId="{BFB3BA00-4B66-44A2-BF0A-C9DB9ED334EA}"/>
          </ac:spMkLst>
        </pc:spChg>
        <pc:graphicFrameChg chg="add del mod modGraphic">
          <ac:chgData name="Talbot, Alex" userId="S::097445@croydon.gov.uk::2e359fc2-acc1-4d79-bd57-d83855c21d06" providerId="AD" clId="Web-{09742C2D-3B96-23C4-C836-C9A18D98ADCD}" dt="2019-05-16T16:58:35.331" v="2188"/>
          <ac:graphicFrameMkLst>
            <pc:docMk/>
            <pc:sldMk cId="3796351993" sldId="863"/>
            <ac:graphicFrameMk id="4" creationId="{2E90F80E-A5F6-4858-BFA7-BE7B445F2629}"/>
          </ac:graphicFrameMkLst>
        </pc:graphicFrameChg>
      </pc:sldChg>
      <pc:sldChg chg="modSp">
        <pc:chgData name="Talbot, Alex" userId="S::097445@croydon.gov.uk::2e359fc2-acc1-4d79-bd57-d83855c21d06" providerId="AD" clId="Web-{09742C2D-3B96-23C4-C836-C9A18D98ADCD}" dt="2019-05-16T16:46:34.548" v="1716" actId="20577"/>
        <pc:sldMkLst>
          <pc:docMk/>
          <pc:sldMk cId="3448438436" sldId="868"/>
        </pc:sldMkLst>
        <pc:spChg chg="mod">
          <ac:chgData name="Talbot, Alex" userId="S::097445@croydon.gov.uk::2e359fc2-acc1-4d79-bd57-d83855c21d06" providerId="AD" clId="Web-{09742C2D-3B96-23C4-C836-C9A18D98ADCD}" dt="2019-05-16T16:46:34.548" v="1716" actId="20577"/>
          <ac:spMkLst>
            <pc:docMk/>
            <pc:sldMk cId="3448438436" sldId="868"/>
            <ac:spMk id="2" creationId="{8845CE91-1DCF-480D-AF7B-599FDAB39CC4}"/>
          </ac:spMkLst>
        </pc:spChg>
      </pc:sldChg>
      <pc:sldChg chg="addSp delSp modSp">
        <pc:chgData name="Talbot, Alex" userId="S::097445@croydon.gov.uk::2e359fc2-acc1-4d79-bd57-d83855c21d06" providerId="AD" clId="Web-{09742C2D-3B96-23C4-C836-C9A18D98ADCD}" dt="2019-05-16T16:57:21.362" v="2178" actId="20577"/>
        <pc:sldMkLst>
          <pc:docMk/>
          <pc:sldMk cId="1449005804" sldId="869"/>
        </pc:sldMkLst>
        <pc:spChg chg="mod">
          <ac:chgData name="Talbot, Alex" userId="S::097445@croydon.gov.uk::2e359fc2-acc1-4d79-bd57-d83855c21d06" providerId="AD" clId="Web-{09742C2D-3B96-23C4-C836-C9A18D98ADCD}" dt="2019-05-16T16:57:21.362" v="2178" actId="20577"/>
          <ac:spMkLst>
            <pc:docMk/>
            <pc:sldMk cId="1449005804" sldId="869"/>
            <ac:spMk id="3" creationId="{00000000-0000-0000-0000-000000000000}"/>
          </ac:spMkLst>
        </pc:spChg>
        <pc:spChg chg="add del">
          <ac:chgData name="Talbot, Alex" userId="S::097445@croydon.gov.uk::2e359fc2-acc1-4d79-bd57-d83855c21d06" providerId="AD" clId="Web-{09742C2D-3B96-23C4-C836-C9A18D98ADCD}" dt="2019-05-16T16:55:16.690" v="2068"/>
          <ac:spMkLst>
            <pc:docMk/>
            <pc:sldMk cId="1449005804" sldId="869"/>
            <ac:spMk id="5" creationId="{63BB8342-4DDA-41D2-9C40-86D1842F81F4}"/>
          </ac:spMkLst>
        </pc:spChg>
      </pc:sldChg>
    </pc:docChg>
  </pc:docChgLst>
  <pc:docChgLst>
    <pc:chgData name="Talbot, Alex" userId="S::097445@croydon.gov.uk::2e359fc2-acc1-4d79-bd57-d83855c21d06" providerId="AD" clId="Web-{41964821-C9D3-43A8-B399-BD1C8AAC41E3}"/>
    <pc:docChg chg="addSld modSld sldOrd">
      <pc:chgData name="Talbot, Alex" userId="S::097445@croydon.gov.uk::2e359fc2-acc1-4d79-bd57-d83855c21d06" providerId="AD" clId="Web-{41964821-C9D3-43A8-B399-BD1C8AAC41E3}" dt="2019-05-20T10:49:49.676" v="121"/>
      <pc:docMkLst>
        <pc:docMk/>
      </pc:docMkLst>
      <pc:sldChg chg="modSp">
        <pc:chgData name="Talbot, Alex" userId="S::097445@croydon.gov.uk::2e359fc2-acc1-4d79-bd57-d83855c21d06" providerId="AD" clId="Web-{41964821-C9D3-43A8-B399-BD1C8AAC41E3}" dt="2019-05-20T10:49:49.676" v="121"/>
        <pc:sldMkLst>
          <pc:docMk/>
          <pc:sldMk cId="2078240094" sldId="851"/>
        </pc:sldMkLst>
        <pc:graphicFrameChg chg="mod modGraphic">
          <ac:chgData name="Talbot, Alex" userId="S::097445@croydon.gov.uk::2e359fc2-acc1-4d79-bd57-d83855c21d06" providerId="AD" clId="Web-{41964821-C9D3-43A8-B399-BD1C8AAC41E3}" dt="2019-05-20T10:49:49.676" v="121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add ord replId">
        <pc:chgData name="Talbot, Alex" userId="S::097445@croydon.gov.uk::2e359fc2-acc1-4d79-bd57-d83855c21d06" providerId="AD" clId="Web-{41964821-C9D3-43A8-B399-BD1C8AAC41E3}" dt="2019-05-20T09:43:56.359" v="1"/>
        <pc:sldMkLst>
          <pc:docMk/>
          <pc:sldMk cId="996276529" sldId="873"/>
        </pc:sldMkLst>
      </pc:sldChg>
    </pc:docChg>
  </pc:docChgLst>
  <pc:docChgLst>
    <pc:chgData name="Talbot, Alex" userId="S::097445@croydon.gov.uk::2e359fc2-acc1-4d79-bd57-d83855c21d06" providerId="AD" clId="Web-{ED4FD1A6-F1DB-B049-FA8E-A2C78D2FB094}"/>
    <pc:docChg chg="modSld sldOrd">
      <pc:chgData name="Talbot, Alex" userId="S::097445@croydon.gov.uk::2e359fc2-acc1-4d79-bd57-d83855c21d06" providerId="AD" clId="Web-{ED4FD1A6-F1DB-B049-FA8E-A2C78D2FB094}" dt="2019-05-17T15:40:47.354" v="9"/>
      <pc:docMkLst>
        <pc:docMk/>
      </pc:docMkLst>
      <pc:sldChg chg="modSp">
        <pc:chgData name="Talbot, Alex" userId="S::097445@croydon.gov.uk::2e359fc2-acc1-4d79-bd57-d83855c21d06" providerId="AD" clId="Web-{ED4FD1A6-F1DB-B049-FA8E-A2C78D2FB094}" dt="2019-05-17T15:39:24.371" v="2"/>
        <pc:sldMkLst>
          <pc:docMk/>
          <pc:sldMk cId="1734698269" sldId="850"/>
        </pc:sldMkLst>
        <pc:graphicFrameChg chg="mod modGraphic">
          <ac:chgData name="Talbot, Alex" userId="S::097445@croydon.gov.uk::2e359fc2-acc1-4d79-bd57-d83855c21d06" providerId="AD" clId="Web-{ED4FD1A6-F1DB-B049-FA8E-A2C78D2FB094}" dt="2019-05-17T15:39:24.371" v="2"/>
          <ac:graphicFrameMkLst>
            <pc:docMk/>
            <pc:sldMk cId="1734698269" sldId="850"/>
            <ac:graphicFrameMk id="12" creationId="{00000000-0000-0000-0000-000000000000}"/>
          </ac:graphicFrameMkLst>
        </pc:graphicFrameChg>
      </pc:sldChg>
      <pc:sldChg chg="ord">
        <pc:chgData name="Talbot, Alex" userId="S::097445@croydon.gov.uk::2e359fc2-acc1-4d79-bd57-d83855c21d06" providerId="AD" clId="Web-{ED4FD1A6-F1DB-B049-FA8E-A2C78D2FB094}" dt="2019-05-17T15:40:19.355" v="7"/>
        <pc:sldMkLst>
          <pc:docMk/>
          <pc:sldMk cId="1593550025" sldId="856"/>
        </pc:sldMkLst>
      </pc:sldChg>
      <pc:sldChg chg="ord">
        <pc:chgData name="Talbot, Alex" userId="S::097445@croydon.gov.uk::2e359fc2-acc1-4d79-bd57-d83855c21d06" providerId="AD" clId="Web-{ED4FD1A6-F1DB-B049-FA8E-A2C78D2FB094}" dt="2019-05-17T15:40:47.354" v="9"/>
        <pc:sldMkLst>
          <pc:docMk/>
          <pc:sldMk cId="1453544522" sldId="857"/>
        </pc:sldMkLst>
      </pc:sldChg>
      <pc:sldChg chg="ord">
        <pc:chgData name="Talbot, Alex" userId="S::097445@croydon.gov.uk::2e359fc2-acc1-4d79-bd57-d83855c21d06" providerId="AD" clId="Web-{ED4FD1A6-F1DB-B049-FA8E-A2C78D2FB094}" dt="2019-05-17T15:39:51.699" v="3"/>
        <pc:sldMkLst>
          <pc:docMk/>
          <pc:sldMk cId="464678197" sldId="858"/>
        </pc:sldMkLst>
      </pc:sldChg>
      <pc:sldChg chg="ord">
        <pc:chgData name="Talbot, Alex" userId="S::097445@croydon.gov.uk::2e359fc2-acc1-4d79-bd57-d83855c21d06" providerId="AD" clId="Web-{ED4FD1A6-F1DB-B049-FA8E-A2C78D2FB094}" dt="2019-05-17T15:40:04.433" v="4"/>
        <pc:sldMkLst>
          <pc:docMk/>
          <pc:sldMk cId="3448438436" sldId="868"/>
        </pc:sldMkLst>
      </pc:sldChg>
      <pc:sldChg chg="ord">
        <pc:chgData name="Talbot, Alex" userId="S::097445@croydon.gov.uk::2e359fc2-acc1-4d79-bd57-d83855c21d06" providerId="AD" clId="Web-{ED4FD1A6-F1DB-B049-FA8E-A2C78D2FB094}" dt="2019-05-17T15:40:25.120" v="8"/>
        <pc:sldMkLst>
          <pc:docMk/>
          <pc:sldMk cId="2921125348" sldId="87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28674" cy="541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7" tIns="46114" rIns="92227" bIns="46114" numCol="1" anchor="t" anchorCtr="0" compatLnSpc="1">
            <a:prstTxWarp prst="textNoShape">
              <a:avLst/>
            </a:prstTxWarp>
          </a:bodyPr>
          <a:lstStyle>
            <a:lvl1pPr algn="l" defTabSz="922131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83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26527" y="1"/>
            <a:ext cx="2928674" cy="541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7" tIns="46114" rIns="92227" bIns="46114" numCol="1" anchor="t" anchorCtr="0" compatLnSpc="1">
            <a:prstTxWarp prst="textNoShape">
              <a:avLst/>
            </a:prstTxWarp>
          </a:bodyPr>
          <a:lstStyle>
            <a:lvl1pPr algn="r" defTabSz="922131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83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10267887"/>
            <a:ext cx="2928674" cy="541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7" tIns="46114" rIns="92227" bIns="46114" numCol="1" anchor="b" anchorCtr="0" compatLnSpc="1">
            <a:prstTxWarp prst="textNoShape">
              <a:avLst/>
            </a:prstTxWarp>
          </a:bodyPr>
          <a:lstStyle>
            <a:lvl1pPr algn="l" defTabSz="922131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83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26527" y="10267887"/>
            <a:ext cx="2928674" cy="541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7" tIns="46114" rIns="92227" bIns="46114" numCol="1" anchor="b" anchorCtr="0" compatLnSpc="1">
            <a:prstTxWarp prst="textNoShape">
              <a:avLst/>
            </a:prstTxWarp>
          </a:bodyPr>
          <a:lstStyle>
            <a:lvl1pPr algn="r" defTabSz="922131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3711EA11-43E6-4DCA-8B9D-C551F341BD0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88990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28674" cy="541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44" tIns="44172" rIns="88344" bIns="44172" numCol="1" anchor="t" anchorCtr="0" compatLnSpc="1">
            <a:prstTxWarp prst="textNoShape">
              <a:avLst/>
            </a:prstTxWarp>
          </a:bodyPr>
          <a:lstStyle>
            <a:lvl1pPr algn="l" defTabSz="883974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100">
                <a:solidFill>
                  <a:schemeClr val="tx1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26527" y="1"/>
            <a:ext cx="2928674" cy="541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44" tIns="44172" rIns="88344" bIns="44172" numCol="1" anchor="t" anchorCtr="0" compatLnSpc="1">
            <a:prstTxWarp prst="textNoShape">
              <a:avLst/>
            </a:prstTxWarp>
          </a:bodyPr>
          <a:lstStyle>
            <a:lvl1pPr algn="r" defTabSz="883974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100">
                <a:solidFill>
                  <a:schemeClr val="tx1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71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23838" y="811213"/>
            <a:ext cx="7207251" cy="40544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786" y="5136536"/>
            <a:ext cx="5409209" cy="4863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44" tIns="44172" rIns="88344" bIns="4417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10267887"/>
            <a:ext cx="2928674" cy="541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44" tIns="44172" rIns="88344" bIns="44172" numCol="1" anchor="b" anchorCtr="0" compatLnSpc="1">
            <a:prstTxWarp prst="textNoShape">
              <a:avLst/>
            </a:prstTxWarp>
          </a:bodyPr>
          <a:lstStyle>
            <a:lvl1pPr algn="l" defTabSz="883974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100">
                <a:solidFill>
                  <a:schemeClr val="tx1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26527" y="10267887"/>
            <a:ext cx="2928674" cy="541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44" tIns="44172" rIns="88344" bIns="44172" numCol="1" anchor="b" anchorCtr="0" compatLnSpc="1">
            <a:prstTxWarp prst="textNoShape">
              <a:avLst/>
            </a:prstTxWarp>
          </a:bodyPr>
          <a:lstStyle>
            <a:lvl1pPr algn="r" defTabSz="883974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1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4C0035BF-B55B-4DD4-B66E-F87CD34018C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058029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MS PGothic" pitchFamily="34" charset="-128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Arial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548B0-B730-4A99-9017-6F39914C1B0C}" type="slidenum">
              <a:rPr lang="en-IE" smtClean="0">
                <a:solidFill>
                  <a:prstClr val="black"/>
                </a:solidFill>
              </a:rPr>
              <a:pPr/>
              <a:t>1</a:t>
            </a:fld>
            <a:endParaRPr lang="en-I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4262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492705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766850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306612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596400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948774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440511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117220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502406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arah Warm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916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08778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84208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77608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2.jpe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.jpe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2.jpe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2.jpe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2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2.jpeg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2.jpeg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2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2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2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2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2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2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2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2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2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2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2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2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2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2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image" Target="../media/image2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2.jpe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2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2.jpe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2.jpe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2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.jpe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2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2.jpe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.jpe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2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2.jpeg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2.jpe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2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A4_Landscape_presentation_260_shadow.png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91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6"/>
            <a:ext cx="10363108" cy="914111"/>
          </a:xfrm>
        </p:spPr>
        <p:txBody>
          <a:bodyPr anchor="t"/>
          <a:lstStyle>
            <a:lvl1pPr>
              <a:defRPr sz="4148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3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207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3550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99EE0DB4-0CA1-4B8F-94FE-31DA6292C13D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47715512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5" y="6245225"/>
            <a:ext cx="2844801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807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689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5" y="6245225"/>
            <a:ext cx="3860800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807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689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0B953-DB9E-429E-A914-90D8BCF4254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27077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5977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0" y="4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10" y="2057116"/>
            <a:ext cx="10363108" cy="914111"/>
          </a:xfrm>
        </p:spPr>
        <p:txBody>
          <a:bodyPr anchor="t"/>
          <a:lstStyle>
            <a:lvl1pPr>
              <a:defRPr sz="3686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4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184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4728678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4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861032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2933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592"/>
            </a:lvl1pPr>
            <a:lvl2pPr marL="333814" indent="0">
              <a:buNone/>
              <a:defRPr sz="1341"/>
            </a:lvl2pPr>
            <a:lvl3pPr marL="667652" indent="0">
              <a:buNone/>
              <a:defRPr sz="1173"/>
            </a:lvl3pPr>
            <a:lvl4pPr marL="1001479" indent="0">
              <a:buNone/>
              <a:defRPr sz="1005"/>
            </a:lvl4pPr>
            <a:lvl5pPr marL="1335308" indent="0">
              <a:buNone/>
              <a:defRPr sz="1005"/>
            </a:lvl5pPr>
            <a:lvl6pPr marL="1669138" indent="0">
              <a:buNone/>
              <a:defRPr sz="1005"/>
            </a:lvl6pPr>
            <a:lvl7pPr marL="2002965" indent="0">
              <a:buNone/>
              <a:defRPr sz="1005"/>
            </a:lvl7pPr>
            <a:lvl8pPr marL="2336795" indent="0">
              <a:buNone/>
              <a:defRPr sz="1005"/>
            </a:lvl8pPr>
            <a:lvl9pPr marL="2670624" indent="0">
              <a:buNone/>
              <a:defRPr sz="100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83716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5"/>
            <a:ext cx="5397943" cy="4048005"/>
          </a:xfrm>
        </p:spPr>
        <p:txBody>
          <a:bodyPr/>
          <a:lstStyle>
            <a:lvl1pPr>
              <a:defRPr sz="1005"/>
            </a:lvl1pPr>
            <a:lvl2pPr>
              <a:defRPr sz="1005"/>
            </a:lvl2pPr>
            <a:lvl3pPr>
              <a:defRPr sz="1005"/>
            </a:lvl3pPr>
            <a:lvl4pPr>
              <a:defRPr sz="1005"/>
            </a:lvl4pPr>
            <a:lvl5pPr>
              <a:defRPr sz="1005"/>
            </a:lvl5pPr>
            <a:lvl6pPr>
              <a:defRPr sz="1341"/>
            </a:lvl6pPr>
            <a:lvl7pPr>
              <a:defRPr sz="1341"/>
            </a:lvl7pPr>
            <a:lvl8pPr>
              <a:defRPr sz="1341"/>
            </a:lvl8pPr>
            <a:lvl9pPr>
              <a:defRPr sz="13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5"/>
            <a:ext cx="5399753" cy="4048005"/>
          </a:xfrm>
        </p:spPr>
        <p:txBody>
          <a:bodyPr/>
          <a:lstStyle>
            <a:lvl1pPr>
              <a:defRPr sz="1005"/>
            </a:lvl1pPr>
            <a:lvl2pPr>
              <a:defRPr sz="1005"/>
            </a:lvl2pPr>
            <a:lvl3pPr>
              <a:defRPr sz="1005"/>
            </a:lvl3pPr>
            <a:lvl4pPr>
              <a:defRPr sz="1005"/>
            </a:lvl4pPr>
            <a:lvl5pPr>
              <a:defRPr sz="1005"/>
            </a:lvl5pPr>
            <a:lvl6pPr>
              <a:defRPr sz="1341"/>
            </a:lvl6pPr>
            <a:lvl7pPr>
              <a:defRPr sz="1341"/>
            </a:lvl7pPr>
            <a:lvl8pPr>
              <a:defRPr sz="1341"/>
            </a:lvl8pPr>
            <a:lvl9pPr>
              <a:defRPr sz="13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344209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42" y="1534560"/>
            <a:ext cx="5387079" cy="640599"/>
          </a:xfrm>
        </p:spPr>
        <p:txBody>
          <a:bodyPr anchor="b"/>
          <a:lstStyle>
            <a:lvl1pPr marL="0" indent="0">
              <a:buNone/>
              <a:defRPr sz="1760" b="1"/>
            </a:lvl1pPr>
            <a:lvl2pPr marL="333814" indent="0">
              <a:buNone/>
              <a:defRPr sz="1592" b="1"/>
            </a:lvl2pPr>
            <a:lvl3pPr marL="667652" indent="0">
              <a:buNone/>
              <a:defRPr sz="1341" b="1"/>
            </a:lvl3pPr>
            <a:lvl4pPr marL="1001479" indent="0">
              <a:buNone/>
              <a:defRPr sz="1173" b="1"/>
            </a:lvl4pPr>
            <a:lvl5pPr marL="1335308" indent="0">
              <a:buNone/>
              <a:defRPr sz="1173" b="1"/>
            </a:lvl5pPr>
            <a:lvl6pPr marL="1669138" indent="0">
              <a:buNone/>
              <a:defRPr sz="1173" b="1"/>
            </a:lvl6pPr>
            <a:lvl7pPr marL="2002965" indent="0">
              <a:buNone/>
              <a:defRPr sz="1173" b="1"/>
            </a:lvl7pPr>
            <a:lvl8pPr marL="2336795" indent="0">
              <a:buNone/>
              <a:defRPr sz="1173" b="1"/>
            </a:lvl8pPr>
            <a:lvl9pPr marL="2670624" indent="0">
              <a:buNone/>
              <a:defRPr sz="117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42" y="2175209"/>
            <a:ext cx="5387079" cy="3951555"/>
          </a:xfrm>
        </p:spPr>
        <p:txBody>
          <a:bodyPr/>
          <a:lstStyle>
            <a:lvl1pPr>
              <a:defRPr sz="1760"/>
            </a:lvl1pPr>
            <a:lvl2pPr>
              <a:defRPr sz="1592"/>
            </a:lvl2pPr>
            <a:lvl3pPr>
              <a:defRPr sz="1341"/>
            </a:lvl3pPr>
            <a:lvl4pPr>
              <a:defRPr sz="1173"/>
            </a:lvl4pPr>
            <a:lvl5pPr>
              <a:defRPr sz="1173"/>
            </a:lvl5pPr>
            <a:lvl6pPr>
              <a:defRPr sz="1173"/>
            </a:lvl6pPr>
            <a:lvl7pPr>
              <a:defRPr sz="1173"/>
            </a:lvl7pPr>
            <a:lvl8pPr>
              <a:defRPr sz="1173"/>
            </a:lvl8pPr>
            <a:lvl9pPr>
              <a:defRPr sz="117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81" y="1534560"/>
            <a:ext cx="5388889" cy="640599"/>
          </a:xfrm>
        </p:spPr>
        <p:txBody>
          <a:bodyPr anchor="b"/>
          <a:lstStyle>
            <a:lvl1pPr marL="0" indent="0">
              <a:buNone/>
              <a:defRPr sz="1760" b="1"/>
            </a:lvl1pPr>
            <a:lvl2pPr marL="333814" indent="0">
              <a:buNone/>
              <a:defRPr sz="1592" b="1"/>
            </a:lvl2pPr>
            <a:lvl3pPr marL="667652" indent="0">
              <a:buNone/>
              <a:defRPr sz="1341" b="1"/>
            </a:lvl3pPr>
            <a:lvl4pPr marL="1001479" indent="0">
              <a:buNone/>
              <a:defRPr sz="1173" b="1"/>
            </a:lvl4pPr>
            <a:lvl5pPr marL="1335308" indent="0">
              <a:buNone/>
              <a:defRPr sz="1173" b="1"/>
            </a:lvl5pPr>
            <a:lvl6pPr marL="1669138" indent="0">
              <a:buNone/>
              <a:defRPr sz="1173" b="1"/>
            </a:lvl6pPr>
            <a:lvl7pPr marL="2002965" indent="0">
              <a:buNone/>
              <a:defRPr sz="1173" b="1"/>
            </a:lvl7pPr>
            <a:lvl8pPr marL="2336795" indent="0">
              <a:buNone/>
              <a:defRPr sz="1173" b="1"/>
            </a:lvl8pPr>
            <a:lvl9pPr marL="2670624" indent="0">
              <a:buNone/>
              <a:defRPr sz="117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81" y="2175209"/>
            <a:ext cx="5388889" cy="3951555"/>
          </a:xfrm>
        </p:spPr>
        <p:txBody>
          <a:bodyPr/>
          <a:lstStyle>
            <a:lvl1pPr>
              <a:defRPr sz="1760"/>
            </a:lvl1pPr>
            <a:lvl2pPr>
              <a:defRPr sz="1592"/>
            </a:lvl2pPr>
            <a:lvl3pPr>
              <a:defRPr sz="1341"/>
            </a:lvl3pPr>
            <a:lvl4pPr>
              <a:defRPr sz="1173"/>
            </a:lvl4pPr>
            <a:lvl5pPr>
              <a:defRPr sz="1173"/>
            </a:lvl5pPr>
            <a:lvl6pPr>
              <a:defRPr sz="1173"/>
            </a:lvl6pPr>
            <a:lvl7pPr>
              <a:defRPr sz="1173"/>
            </a:lvl7pPr>
            <a:lvl8pPr>
              <a:defRPr sz="1173"/>
            </a:lvl8pPr>
            <a:lvl9pPr>
              <a:defRPr sz="117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004388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882478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051419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592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9" y="273516"/>
            <a:ext cx="6815785" cy="5853196"/>
          </a:xfrm>
        </p:spPr>
        <p:txBody>
          <a:bodyPr/>
          <a:lstStyle>
            <a:lvl1pPr>
              <a:defRPr sz="2346"/>
            </a:lvl1pPr>
            <a:lvl2pPr>
              <a:defRPr sz="2179"/>
            </a:lvl2pPr>
            <a:lvl3pPr>
              <a:defRPr sz="1760"/>
            </a:lvl3pPr>
            <a:lvl4pPr>
              <a:defRPr sz="1592"/>
            </a:lvl4pPr>
            <a:lvl5pPr>
              <a:defRPr sz="1592"/>
            </a:lvl5pPr>
            <a:lvl6pPr>
              <a:defRPr sz="1592"/>
            </a:lvl6pPr>
            <a:lvl7pPr>
              <a:defRPr sz="1592"/>
            </a:lvl7pPr>
            <a:lvl8pPr>
              <a:defRPr sz="1592"/>
            </a:lvl8pPr>
            <a:lvl9pPr>
              <a:defRPr sz="159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005"/>
            </a:lvl1pPr>
            <a:lvl2pPr marL="333814" indent="0">
              <a:buNone/>
              <a:defRPr sz="921"/>
            </a:lvl2pPr>
            <a:lvl3pPr marL="667652" indent="0">
              <a:buNone/>
              <a:defRPr sz="754"/>
            </a:lvl3pPr>
            <a:lvl4pPr marL="1001479" indent="0">
              <a:buNone/>
              <a:defRPr sz="670"/>
            </a:lvl4pPr>
            <a:lvl5pPr marL="1335308" indent="0">
              <a:buNone/>
              <a:defRPr sz="670"/>
            </a:lvl5pPr>
            <a:lvl6pPr marL="1669138" indent="0">
              <a:buNone/>
              <a:defRPr sz="670"/>
            </a:lvl6pPr>
            <a:lvl7pPr marL="2002965" indent="0">
              <a:buNone/>
              <a:defRPr sz="670"/>
            </a:lvl7pPr>
            <a:lvl8pPr marL="2336795" indent="0">
              <a:buNone/>
              <a:defRPr sz="670"/>
            </a:lvl8pPr>
            <a:lvl9pPr marL="2670624" indent="0">
              <a:buNone/>
              <a:defRPr sz="67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4254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2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2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23D551C-3CB7-4976-A437-43C9C403D14D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0917211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4" y="4800938"/>
            <a:ext cx="7315561" cy="565741"/>
          </a:xfrm>
        </p:spPr>
        <p:txBody>
          <a:bodyPr anchor="b"/>
          <a:lstStyle>
            <a:lvl1pPr algn="l">
              <a:defRPr sz="1592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4" y="613247"/>
            <a:ext cx="7315561" cy="4114224"/>
          </a:xfrm>
        </p:spPr>
        <p:txBody>
          <a:bodyPr/>
          <a:lstStyle>
            <a:lvl1pPr marL="0" indent="0">
              <a:buNone/>
              <a:defRPr sz="2346"/>
            </a:lvl1pPr>
            <a:lvl2pPr marL="333814" indent="0">
              <a:buNone/>
              <a:defRPr sz="2179"/>
            </a:lvl2pPr>
            <a:lvl3pPr marL="667652" indent="0">
              <a:buNone/>
              <a:defRPr sz="1760"/>
            </a:lvl3pPr>
            <a:lvl4pPr marL="1001479" indent="0">
              <a:buNone/>
              <a:defRPr sz="1592"/>
            </a:lvl4pPr>
            <a:lvl5pPr marL="1335308" indent="0">
              <a:buNone/>
              <a:defRPr sz="1592"/>
            </a:lvl5pPr>
            <a:lvl6pPr marL="1669138" indent="0">
              <a:buNone/>
              <a:defRPr sz="1592"/>
            </a:lvl6pPr>
            <a:lvl7pPr marL="2002965" indent="0">
              <a:buNone/>
              <a:defRPr sz="1592"/>
            </a:lvl7pPr>
            <a:lvl8pPr marL="2336795" indent="0">
              <a:buNone/>
              <a:defRPr sz="1592"/>
            </a:lvl8pPr>
            <a:lvl9pPr marL="2670624" indent="0">
              <a:buNone/>
              <a:defRPr sz="1592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4" y="5366633"/>
            <a:ext cx="7315561" cy="806146"/>
          </a:xfrm>
        </p:spPr>
        <p:txBody>
          <a:bodyPr/>
          <a:lstStyle>
            <a:lvl1pPr marL="0" indent="0">
              <a:buNone/>
              <a:defRPr sz="1005"/>
            </a:lvl1pPr>
            <a:lvl2pPr marL="333814" indent="0">
              <a:buNone/>
              <a:defRPr sz="921"/>
            </a:lvl2pPr>
            <a:lvl3pPr marL="667652" indent="0">
              <a:buNone/>
              <a:defRPr sz="754"/>
            </a:lvl3pPr>
            <a:lvl4pPr marL="1001479" indent="0">
              <a:buNone/>
              <a:defRPr sz="670"/>
            </a:lvl4pPr>
            <a:lvl5pPr marL="1335308" indent="0">
              <a:buNone/>
              <a:defRPr sz="670"/>
            </a:lvl5pPr>
            <a:lvl6pPr marL="1669138" indent="0">
              <a:buNone/>
              <a:defRPr sz="670"/>
            </a:lvl6pPr>
            <a:lvl7pPr marL="2002965" indent="0">
              <a:buNone/>
              <a:defRPr sz="670"/>
            </a:lvl7pPr>
            <a:lvl8pPr marL="2336795" indent="0">
              <a:buNone/>
              <a:defRPr sz="670"/>
            </a:lvl8pPr>
            <a:lvl9pPr marL="2670624" indent="0">
              <a:buNone/>
              <a:defRPr sz="67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967454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42494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4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4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186181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598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7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8526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5" y="6245225"/>
            <a:ext cx="2844801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76164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592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5" y="6245225"/>
            <a:ext cx="3860800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76164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592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0B953-DB9E-429E-A914-90D8BCF4254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4032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08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95135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7" y="4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6"/>
            <a:ext cx="10363108" cy="914111"/>
          </a:xfrm>
        </p:spPr>
        <p:txBody>
          <a:bodyPr anchor="t"/>
          <a:lstStyle>
            <a:lvl1pPr>
              <a:defRPr sz="4148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3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207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82439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705154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33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791"/>
            </a:lvl1pPr>
            <a:lvl2pPr marL="375589" indent="0">
              <a:buNone/>
              <a:defRPr sz="1508"/>
            </a:lvl2pPr>
            <a:lvl3pPr marL="751206" indent="0">
              <a:buNone/>
              <a:defRPr sz="1320"/>
            </a:lvl3pPr>
            <a:lvl4pPr marL="1126811" indent="0">
              <a:buNone/>
              <a:defRPr sz="1131"/>
            </a:lvl4pPr>
            <a:lvl5pPr marL="1502416" indent="0">
              <a:buNone/>
              <a:defRPr sz="1131"/>
            </a:lvl5pPr>
            <a:lvl6pPr marL="1878024" indent="0">
              <a:buNone/>
              <a:defRPr sz="1131"/>
            </a:lvl6pPr>
            <a:lvl7pPr marL="2253628" indent="0">
              <a:buNone/>
              <a:defRPr sz="1131"/>
            </a:lvl7pPr>
            <a:lvl8pPr marL="2629237" indent="0">
              <a:buNone/>
              <a:defRPr sz="1131"/>
            </a:lvl8pPr>
            <a:lvl9pPr marL="3004842" indent="0">
              <a:buNone/>
              <a:defRPr sz="113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530096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3"/>
            <a:ext cx="539794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3"/>
            <a:ext cx="539975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731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92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5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B174DD92-4501-4330-BB37-AFCA0BFAD91E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30643128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9" y="1534560"/>
            <a:ext cx="538707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9" y="2175207"/>
            <a:ext cx="538707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8" y="1534560"/>
            <a:ext cx="538888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8" y="2175207"/>
            <a:ext cx="538888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444442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656524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667604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6" y="273516"/>
            <a:ext cx="6815785" cy="5853196"/>
          </a:xfrm>
        </p:spPr>
        <p:txBody>
          <a:bodyPr/>
          <a:lstStyle>
            <a:lvl1pPr>
              <a:defRPr sz="2640"/>
            </a:lvl1pPr>
            <a:lvl2pPr>
              <a:defRPr sz="2452"/>
            </a:lvl2pPr>
            <a:lvl3pPr>
              <a:defRPr sz="1980"/>
            </a:lvl3pPr>
            <a:lvl4pPr>
              <a:defRPr sz="1791"/>
            </a:lvl4pPr>
            <a:lvl5pPr>
              <a:defRPr sz="1791"/>
            </a:lvl5pPr>
            <a:lvl6pPr>
              <a:defRPr sz="1791"/>
            </a:lvl6pPr>
            <a:lvl7pPr>
              <a:defRPr sz="1791"/>
            </a:lvl7pPr>
            <a:lvl8pPr>
              <a:defRPr sz="1791"/>
            </a:lvl8pPr>
            <a:lvl9pPr>
              <a:defRPr sz="17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248141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1" y="4800938"/>
            <a:ext cx="7315561" cy="565741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1" y="613247"/>
            <a:ext cx="7315561" cy="4114224"/>
          </a:xfrm>
        </p:spPr>
        <p:txBody>
          <a:bodyPr/>
          <a:lstStyle>
            <a:lvl1pPr marL="0" indent="0">
              <a:buNone/>
              <a:defRPr sz="2640"/>
            </a:lvl1pPr>
            <a:lvl2pPr marL="375589" indent="0">
              <a:buNone/>
              <a:defRPr sz="2452"/>
            </a:lvl2pPr>
            <a:lvl3pPr marL="751206" indent="0">
              <a:buNone/>
              <a:defRPr sz="1980"/>
            </a:lvl3pPr>
            <a:lvl4pPr marL="1126811" indent="0">
              <a:buNone/>
              <a:defRPr sz="1791"/>
            </a:lvl4pPr>
            <a:lvl5pPr marL="1502416" indent="0">
              <a:buNone/>
              <a:defRPr sz="1791"/>
            </a:lvl5pPr>
            <a:lvl6pPr marL="1878024" indent="0">
              <a:buNone/>
              <a:defRPr sz="1791"/>
            </a:lvl6pPr>
            <a:lvl7pPr marL="2253628" indent="0">
              <a:buNone/>
              <a:defRPr sz="1791"/>
            </a:lvl7pPr>
            <a:lvl8pPr marL="2629237" indent="0">
              <a:buNone/>
              <a:defRPr sz="1791"/>
            </a:lvl8pPr>
            <a:lvl9pPr marL="3004842" indent="0">
              <a:buNone/>
              <a:defRPr sz="1791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1" y="5366631"/>
            <a:ext cx="7315561" cy="806146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378433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043984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2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2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123340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923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5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205912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5" y="6245225"/>
            <a:ext cx="2844801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8569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791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5" y="6245225"/>
            <a:ext cx="3860800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8569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791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0B953-DB9E-429E-A914-90D8BCF4254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24798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7" y="5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8"/>
            <a:ext cx="10363108" cy="914111"/>
          </a:xfrm>
        </p:spPr>
        <p:txBody>
          <a:bodyPr anchor="t"/>
          <a:lstStyle>
            <a:lvl1pPr>
              <a:defRPr sz="3300">
                <a:solidFill>
                  <a:srgbClr val="7014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4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1650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49071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9215967" y="6461125"/>
            <a:ext cx="2743200" cy="363538"/>
          </a:xfrm>
          <a:prstGeom prst="rect">
            <a:avLst/>
          </a:prstGeom>
        </p:spPr>
        <p:txBody>
          <a:bodyPr lIns="78191" tIns="39095" rIns="78191" bIns="39095" anchor="ctr"/>
          <a:lstStyle>
            <a:defPPr>
              <a:defRPr lang="en-US"/>
            </a:defPPr>
            <a:lvl1pPr marL="0" algn="r" defTabSz="1043056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0B31B4E3-3062-486F-807D-E448E3E4AB4D}" type="slidenum">
              <a:rPr lang="en-IE" sz="1026" smtClean="0">
                <a:solidFill>
                  <a:srgbClr val="000000">
                    <a:tint val="75000"/>
                  </a:srgb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IE" sz="1026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147300" y="25400"/>
            <a:ext cx="2034117" cy="152400"/>
          </a:xfrm>
        </p:spPr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A454A3D-9E25-4647-9824-23489C26C2B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132615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3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401085489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1755"/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681755"/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6479144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5"/>
            <a:ext cx="10363109" cy="1361811"/>
          </a:xfrm>
        </p:spPr>
        <p:txBody>
          <a:bodyPr anchor="t"/>
          <a:lstStyle>
            <a:lvl1pPr algn="l">
              <a:defRPr sz="2625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425"/>
            </a:lvl1pPr>
            <a:lvl2pPr marL="298799" indent="0">
              <a:buNone/>
              <a:defRPr sz="1200"/>
            </a:lvl2pPr>
            <a:lvl3pPr marL="597620" indent="0">
              <a:buNone/>
              <a:defRPr sz="1050"/>
            </a:lvl3pPr>
            <a:lvl4pPr marL="896431" indent="0">
              <a:buNone/>
              <a:defRPr sz="900"/>
            </a:lvl4pPr>
            <a:lvl5pPr marL="1195242" indent="0">
              <a:buNone/>
              <a:defRPr sz="900"/>
            </a:lvl5pPr>
            <a:lvl6pPr marL="1494056" indent="0">
              <a:buNone/>
              <a:defRPr sz="900"/>
            </a:lvl6pPr>
            <a:lvl7pPr marL="1792867" indent="0">
              <a:buNone/>
              <a:defRPr sz="900"/>
            </a:lvl7pPr>
            <a:lvl8pPr marL="2091681" indent="0">
              <a:buNone/>
              <a:defRPr sz="900"/>
            </a:lvl8pPr>
            <a:lvl9pPr marL="239049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893910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4"/>
            <a:ext cx="5397943" cy="4048005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80" y="1600784"/>
            <a:ext cx="5399753" cy="4048005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257645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9" y="1534561"/>
            <a:ext cx="5387079" cy="640599"/>
          </a:xfrm>
        </p:spPr>
        <p:txBody>
          <a:bodyPr anchor="b"/>
          <a:lstStyle>
            <a:lvl1pPr marL="0" indent="0">
              <a:buNone/>
              <a:defRPr sz="1575" b="1"/>
            </a:lvl1pPr>
            <a:lvl2pPr marL="298799" indent="0">
              <a:buNone/>
              <a:defRPr sz="1425" b="1"/>
            </a:lvl2pPr>
            <a:lvl3pPr marL="597620" indent="0">
              <a:buNone/>
              <a:defRPr sz="1200" b="1"/>
            </a:lvl3pPr>
            <a:lvl4pPr marL="896431" indent="0">
              <a:buNone/>
              <a:defRPr sz="1050" b="1"/>
            </a:lvl4pPr>
            <a:lvl5pPr marL="1195242" indent="0">
              <a:buNone/>
              <a:defRPr sz="1050" b="1"/>
            </a:lvl5pPr>
            <a:lvl6pPr marL="1494056" indent="0">
              <a:buNone/>
              <a:defRPr sz="1050" b="1"/>
            </a:lvl6pPr>
            <a:lvl7pPr marL="1792867" indent="0">
              <a:buNone/>
              <a:defRPr sz="1050" b="1"/>
            </a:lvl7pPr>
            <a:lvl8pPr marL="2091681" indent="0">
              <a:buNone/>
              <a:defRPr sz="1050" b="1"/>
            </a:lvl8pPr>
            <a:lvl9pPr marL="2390492" indent="0">
              <a:buNone/>
              <a:defRPr sz="105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9" y="2175208"/>
            <a:ext cx="5387079" cy="3951555"/>
          </a:xfrm>
        </p:spPr>
        <p:txBody>
          <a:bodyPr/>
          <a:lstStyle>
            <a:lvl1pPr>
              <a:defRPr sz="1575"/>
            </a:lvl1pPr>
            <a:lvl2pPr>
              <a:defRPr sz="1425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8" y="1534561"/>
            <a:ext cx="5388889" cy="640599"/>
          </a:xfrm>
        </p:spPr>
        <p:txBody>
          <a:bodyPr anchor="b"/>
          <a:lstStyle>
            <a:lvl1pPr marL="0" indent="0">
              <a:buNone/>
              <a:defRPr sz="1575" b="1"/>
            </a:lvl1pPr>
            <a:lvl2pPr marL="298799" indent="0">
              <a:buNone/>
              <a:defRPr sz="1425" b="1"/>
            </a:lvl2pPr>
            <a:lvl3pPr marL="597620" indent="0">
              <a:buNone/>
              <a:defRPr sz="1200" b="1"/>
            </a:lvl3pPr>
            <a:lvl4pPr marL="896431" indent="0">
              <a:buNone/>
              <a:defRPr sz="1050" b="1"/>
            </a:lvl4pPr>
            <a:lvl5pPr marL="1195242" indent="0">
              <a:buNone/>
              <a:defRPr sz="1050" b="1"/>
            </a:lvl5pPr>
            <a:lvl6pPr marL="1494056" indent="0">
              <a:buNone/>
              <a:defRPr sz="1050" b="1"/>
            </a:lvl6pPr>
            <a:lvl7pPr marL="1792867" indent="0">
              <a:buNone/>
              <a:defRPr sz="1050" b="1"/>
            </a:lvl7pPr>
            <a:lvl8pPr marL="2091681" indent="0">
              <a:buNone/>
              <a:defRPr sz="1050" b="1"/>
            </a:lvl8pPr>
            <a:lvl9pPr marL="2390492" indent="0">
              <a:buNone/>
              <a:defRPr sz="105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8" y="2175208"/>
            <a:ext cx="5388889" cy="3951555"/>
          </a:xfrm>
        </p:spPr>
        <p:txBody>
          <a:bodyPr/>
          <a:lstStyle>
            <a:lvl1pPr>
              <a:defRPr sz="1575"/>
            </a:lvl1pPr>
            <a:lvl2pPr>
              <a:defRPr sz="1425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005983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791910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40857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6" y="273561"/>
            <a:ext cx="4010883" cy="1161714"/>
          </a:xfrm>
        </p:spPr>
        <p:txBody>
          <a:bodyPr anchor="b"/>
          <a:lstStyle>
            <a:lvl1pPr algn="l">
              <a:defRPr sz="142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6" y="273516"/>
            <a:ext cx="6815785" cy="5853196"/>
          </a:xfr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575"/>
            </a:lvl3pPr>
            <a:lvl4pPr>
              <a:defRPr sz="1425"/>
            </a:lvl4pPr>
            <a:lvl5pPr>
              <a:defRPr sz="1425"/>
            </a:lvl5pPr>
            <a:lvl6pPr>
              <a:defRPr sz="1425"/>
            </a:lvl6pPr>
            <a:lvl7pPr>
              <a:defRPr sz="1425"/>
            </a:lvl7pPr>
            <a:lvl8pPr>
              <a:defRPr sz="1425"/>
            </a:lvl8pPr>
            <a:lvl9pPr>
              <a:defRPr sz="14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6" y="1435230"/>
            <a:ext cx="4010883" cy="4691482"/>
          </a:xfrm>
        </p:spPr>
        <p:txBody>
          <a:bodyPr/>
          <a:lstStyle>
            <a:lvl1pPr marL="0" indent="0">
              <a:buNone/>
              <a:defRPr sz="900"/>
            </a:lvl1pPr>
            <a:lvl2pPr marL="298799" indent="0">
              <a:buNone/>
              <a:defRPr sz="825"/>
            </a:lvl2pPr>
            <a:lvl3pPr marL="597620" indent="0">
              <a:buNone/>
              <a:defRPr sz="675"/>
            </a:lvl3pPr>
            <a:lvl4pPr marL="896431" indent="0">
              <a:buNone/>
              <a:defRPr sz="600"/>
            </a:lvl4pPr>
            <a:lvl5pPr marL="1195242" indent="0">
              <a:buNone/>
              <a:defRPr sz="600"/>
            </a:lvl5pPr>
            <a:lvl6pPr marL="1494056" indent="0">
              <a:buNone/>
              <a:defRPr sz="600"/>
            </a:lvl6pPr>
            <a:lvl7pPr marL="1792867" indent="0">
              <a:buNone/>
              <a:defRPr sz="600"/>
            </a:lvl7pPr>
            <a:lvl8pPr marL="2091681" indent="0">
              <a:buNone/>
              <a:defRPr sz="600"/>
            </a:lvl8pPr>
            <a:lvl9pPr marL="239049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989750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1" y="4800940"/>
            <a:ext cx="7315561" cy="565741"/>
          </a:xfrm>
        </p:spPr>
        <p:txBody>
          <a:bodyPr anchor="b"/>
          <a:lstStyle>
            <a:lvl1pPr algn="l">
              <a:defRPr sz="142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1" y="613247"/>
            <a:ext cx="7315561" cy="4114224"/>
          </a:xfrm>
        </p:spPr>
        <p:txBody>
          <a:bodyPr/>
          <a:lstStyle>
            <a:lvl1pPr marL="0" indent="0">
              <a:buNone/>
              <a:defRPr sz="2100"/>
            </a:lvl1pPr>
            <a:lvl2pPr marL="298799" indent="0">
              <a:buNone/>
              <a:defRPr sz="1950"/>
            </a:lvl2pPr>
            <a:lvl3pPr marL="597620" indent="0">
              <a:buNone/>
              <a:defRPr sz="1575"/>
            </a:lvl3pPr>
            <a:lvl4pPr marL="896431" indent="0">
              <a:buNone/>
              <a:defRPr sz="1425"/>
            </a:lvl4pPr>
            <a:lvl5pPr marL="1195242" indent="0">
              <a:buNone/>
              <a:defRPr sz="1425"/>
            </a:lvl5pPr>
            <a:lvl6pPr marL="1494056" indent="0">
              <a:buNone/>
              <a:defRPr sz="1425"/>
            </a:lvl6pPr>
            <a:lvl7pPr marL="1792867" indent="0">
              <a:buNone/>
              <a:defRPr sz="1425"/>
            </a:lvl7pPr>
            <a:lvl8pPr marL="2091681" indent="0">
              <a:buNone/>
              <a:defRPr sz="1425"/>
            </a:lvl8pPr>
            <a:lvl9pPr marL="2390492" indent="0">
              <a:buNone/>
              <a:defRPr sz="1425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1" y="5366630"/>
            <a:ext cx="7315561" cy="806146"/>
          </a:xfrm>
        </p:spPr>
        <p:txBody>
          <a:bodyPr/>
          <a:lstStyle>
            <a:lvl1pPr marL="0" indent="0">
              <a:buNone/>
              <a:defRPr sz="900"/>
            </a:lvl1pPr>
            <a:lvl2pPr marL="298799" indent="0">
              <a:buNone/>
              <a:defRPr sz="825"/>
            </a:lvl2pPr>
            <a:lvl3pPr marL="597620" indent="0">
              <a:buNone/>
              <a:defRPr sz="675"/>
            </a:lvl3pPr>
            <a:lvl4pPr marL="896431" indent="0">
              <a:buNone/>
              <a:defRPr sz="600"/>
            </a:lvl4pPr>
            <a:lvl5pPr marL="1195242" indent="0">
              <a:buNone/>
              <a:defRPr sz="600"/>
            </a:lvl5pPr>
            <a:lvl6pPr marL="1494056" indent="0">
              <a:buNone/>
              <a:defRPr sz="600"/>
            </a:lvl6pPr>
            <a:lvl7pPr marL="1792867" indent="0">
              <a:buNone/>
              <a:defRPr sz="600"/>
            </a:lvl7pPr>
            <a:lvl8pPr marL="2091681" indent="0">
              <a:buNone/>
              <a:defRPr sz="600"/>
            </a:lvl8pPr>
            <a:lvl9pPr marL="239049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997263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199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609600" y="624205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97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6D4AA465-B0AC-427D-8911-4DBAA71542F9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26988190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7" y="275003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2" y="275003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083234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325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6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746708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50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50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5" y="6245225"/>
            <a:ext cx="2844801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6817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425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5" y="6245225"/>
            <a:ext cx="3860800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6817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25" dirty="0">
                <a:solidFill>
                  <a:prstClr val="black"/>
                </a:solidFill>
                <a:latin typeface="Arial"/>
                <a:ea typeface="ＭＳ Ｐゴシック" pitchFamily="34" charset="-128"/>
              </a:rPr>
              <a:t>Pag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0B953-DB9E-429E-A914-90D8BCF4254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993253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4" name="Shape 55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5" name="Shape 55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342900" lvl="0" indent="-238125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685800" lvl="1" indent="-238125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028700" lvl="2" indent="-23812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371600" lvl="3" indent="-238125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1714500" lvl="4" indent="-238125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057400" lvl="5" indent="-23812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2400300" lvl="6" indent="-238125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2743200" lvl="7" indent="-238125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3086100" lvl="8" indent="-23812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6" name="Shape 55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buNone/>
              <a:defRPr/>
            </a:lvl1pPr>
            <a:lvl2pPr lvl="1" rtl="0">
              <a:spcBef>
                <a:spcPts val="0"/>
              </a:spcBef>
              <a:buNone/>
              <a:defRPr/>
            </a:lvl2pPr>
            <a:lvl3pPr lvl="2" rtl="0">
              <a:spcBef>
                <a:spcPts val="0"/>
              </a:spcBef>
              <a:buNone/>
              <a:defRPr/>
            </a:lvl3pPr>
            <a:lvl4pPr lvl="3" rtl="0">
              <a:spcBef>
                <a:spcPts val="0"/>
              </a:spcBef>
              <a:buNone/>
              <a:defRPr/>
            </a:lvl4pPr>
            <a:lvl5pPr lvl="4" rtl="0">
              <a:spcBef>
                <a:spcPts val="0"/>
              </a:spcBef>
              <a:buNone/>
              <a:defRPr/>
            </a:lvl5pPr>
            <a:lvl6pPr lvl="5" rtl="0">
              <a:spcBef>
                <a:spcPts val="0"/>
              </a:spcBef>
              <a:buNone/>
              <a:defRPr/>
            </a:lvl6pPr>
            <a:lvl7pPr lvl="6" rtl="0">
              <a:spcBef>
                <a:spcPts val="0"/>
              </a:spcBef>
              <a:buNone/>
              <a:defRPr/>
            </a:lvl7pPr>
            <a:lvl8pPr lvl="7" rtl="0">
              <a:spcBef>
                <a:spcPts val="0"/>
              </a:spcBef>
              <a:buNone/>
              <a:defRPr/>
            </a:lvl8pPr>
            <a:lvl9pPr lvl="8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62355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.2. Text - Three columns - Text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Shape 200"/>
          <p:cNvSpPr txBox="1">
            <a:spLocks noGrp="1"/>
          </p:cNvSpPr>
          <p:nvPr>
            <p:ph type="title"/>
          </p:nvPr>
        </p:nvSpPr>
        <p:spPr>
          <a:xfrm>
            <a:off x="110800" y="15200"/>
            <a:ext cx="11917600" cy="6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250">
                <a:solidFill>
                  <a:srgbClr val="263238"/>
                </a:solidFill>
                <a:latin typeface="Yrsa"/>
                <a:ea typeface="Yrsa"/>
                <a:cs typeface="Yrsa"/>
                <a:sym typeface="Yrs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9pPr>
          </a:lstStyle>
          <a:p>
            <a:endParaRPr/>
          </a:p>
        </p:txBody>
      </p:sp>
      <p:sp>
        <p:nvSpPr>
          <p:cNvPr id="201" name="Shape 201"/>
          <p:cNvSpPr txBox="1">
            <a:spLocks noGrp="1"/>
          </p:cNvSpPr>
          <p:nvPr>
            <p:ph type="subTitle" idx="1"/>
          </p:nvPr>
        </p:nvSpPr>
        <p:spPr>
          <a:xfrm>
            <a:off x="110800" y="595400"/>
            <a:ext cx="11917600" cy="5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02" name="Shape 202"/>
          <p:cNvSpPr txBox="1">
            <a:spLocks noGrp="1"/>
          </p:cNvSpPr>
          <p:nvPr>
            <p:ph type="sldNum" idx="12"/>
          </p:nvPr>
        </p:nvSpPr>
        <p:spPr>
          <a:xfrm>
            <a:off x="11296600" y="6420827"/>
            <a:ext cx="731600" cy="23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lvl="1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lvl="2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lvl="3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lvl="4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lvl="5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lvl="6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lvl="7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lvl="8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fld id="{00000000-1234-1234-1234-123412341234}" type="slidenum">
              <a:rPr lang="en-GB" smtClean="0">
                <a:solidFill>
                  <a:srgbClr val="434342"/>
                </a:solidFill>
              </a:rPr>
              <a:pPr/>
              <a:t>‹#›</a:t>
            </a:fld>
            <a:endParaRPr lang="en-GB" dirty="0">
              <a:solidFill>
                <a:srgbClr val="434342"/>
              </a:solidFill>
            </a:endParaRPr>
          </a:p>
        </p:txBody>
      </p:sp>
      <p:sp>
        <p:nvSpPr>
          <p:cNvPr id="203" name="Shape 203"/>
          <p:cNvSpPr txBox="1">
            <a:spLocks noGrp="1"/>
          </p:cNvSpPr>
          <p:nvPr>
            <p:ph type="body" idx="2"/>
          </p:nvPr>
        </p:nvSpPr>
        <p:spPr>
          <a:xfrm>
            <a:off x="734233" y="1410100"/>
            <a:ext cx="3485200" cy="50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900" lvl="0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028700" lvl="2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371600" lvl="3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4pPr>
            <a:lvl5pPr marL="1714500" lvl="4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057400" lvl="5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400300" lvl="6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7pPr>
            <a:lvl8pPr marL="2743200" lvl="7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086100" lvl="8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04" name="Shape 204"/>
          <p:cNvSpPr txBox="1">
            <a:spLocks noGrp="1"/>
          </p:cNvSpPr>
          <p:nvPr>
            <p:ph type="body" idx="3"/>
          </p:nvPr>
        </p:nvSpPr>
        <p:spPr>
          <a:xfrm>
            <a:off x="4386905" y="1410100"/>
            <a:ext cx="3545200" cy="50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900" lvl="0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028700" lvl="2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371600" lvl="3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4pPr>
            <a:lvl5pPr marL="1714500" lvl="4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057400" lvl="5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400300" lvl="6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7pPr>
            <a:lvl8pPr marL="2743200" lvl="7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086100" lvl="8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05" name="Shape 205"/>
          <p:cNvSpPr txBox="1">
            <a:spLocks noGrp="1"/>
          </p:cNvSpPr>
          <p:nvPr>
            <p:ph type="body" idx="4"/>
          </p:nvPr>
        </p:nvSpPr>
        <p:spPr>
          <a:xfrm>
            <a:off x="8112964" y="1410100"/>
            <a:ext cx="3545200" cy="50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900" lvl="0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028700" lvl="2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371600" lvl="3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4pPr>
            <a:lvl5pPr marL="1714500" lvl="4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057400" lvl="5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400300" lvl="6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7pPr>
            <a:lvl8pPr marL="2743200" lvl="7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086100" lvl="8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223859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3">
    <p:spTree>
      <p:nvGrpSpPr>
        <p:cNvPr id="1" name="Shape 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Shape 558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Char char="●"/>
              <a:defRPr sz="39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Char char="○"/>
              <a:defRPr sz="39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Char char="■"/>
              <a:defRPr sz="39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Char char="●"/>
              <a:defRPr sz="39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Char char="○"/>
              <a:defRPr sz="39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Char char="■"/>
              <a:defRPr sz="39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Char char="●"/>
              <a:defRPr sz="39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Char char="○"/>
              <a:defRPr sz="39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Char char="■"/>
              <a:defRPr sz="3900"/>
            </a:lvl9pPr>
          </a:lstStyle>
          <a:p>
            <a:endParaRPr/>
          </a:p>
        </p:txBody>
      </p:sp>
      <p:sp>
        <p:nvSpPr>
          <p:cNvPr id="559" name="Shape 559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9pPr>
          </a:lstStyle>
          <a:p>
            <a:endParaRPr/>
          </a:p>
        </p:txBody>
      </p:sp>
      <p:sp>
        <p:nvSpPr>
          <p:cNvPr id="560" name="Shape 56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buNone/>
              <a:defRPr/>
            </a:lvl1pPr>
            <a:lvl2pPr lvl="1" rtl="0">
              <a:spcBef>
                <a:spcPts val="0"/>
              </a:spcBef>
              <a:buNone/>
              <a:defRPr/>
            </a:lvl2pPr>
            <a:lvl3pPr lvl="2" rtl="0">
              <a:spcBef>
                <a:spcPts val="0"/>
              </a:spcBef>
              <a:buNone/>
              <a:defRPr/>
            </a:lvl3pPr>
            <a:lvl4pPr lvl="3" rtl="0">
              <a:spcBef>
                <a:spcPts val="0"/>
              </a:spcBef>
              <a:buNone/>
              <a:defRPr/>
            </a:lvl4pPr>
            <a:lvl5pPr lvl="4" rtl="0">
              <a:spcBef>
                <a:spcPts val="0"/>
              </a:spcBef>
              <a:buNone/>
              <a:defRPr/>
            </a:lvl5pPr>
            <a:lvl6pPr lvl="5" rtl="0">
              <a:spcBef>
                <a:spcPts val="0"/>
              </a:spcBef>
              <a:buNone/>
              <a:defRPr/>
            </a:lvl6pPr>
            <a:lvl7pPr lvl="6" rtl="0">
              <a:spcBef>
                <a:spcPts val="0"/>
              </a:spcBef>
              <a:buNone/>
              <a:defRPr/>
            </a:lvl7pPr>
            <a:lvl8pPr lvl="7" rtl="0">
              <a:spcBef>
                <a:spcPts val="0"/>
              </a:spcBef>
              <a:buNone/>
              <a:defRPr/>
            </a:lvl8pPr>
            <a:lvl9pPr lvl="8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56842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.0.2 Text - One columns - Text and pattern">
  <p:cSld name="4.0.2 Text - One columns - Text and pattern">
    <p:spTree>
      <p:nvGrpSpPr>
        <p:cNvPr id="1" name="Shape 8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2" name="Shape 822"/>
          <p:cNvSpPr txBox="1">
            <a:spLocks noGrp="1"/>
          </p:cNvSpPr>
          <p:nvPr>
            <p:ph type="sldNum" idx="12"/>
          </p:nvPr>
        </p:nvSpPr>
        <p:spPr>
          <a:xfrm>
            <a:off x="11296600" y="6420827"/>
            <a:ext cx="731600" cy="23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lvl="1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lvl="2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lvl="3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lvl="4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lvl="5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lvl="6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lvl="7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lvl="8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fld id="{00000000-1234-1234-1234-123412341234}" type="slidenum">
              <a:rPr lang="en-GB" smtClean="0">
                <a:solidFill>
                  <a:srgbClr val="434342"/>
                </a:solidFill>
              </a:rPr>
              <a:pPr/>
              <a:t>‹#›</a:t>
            </a:fld>
            <a:endParaRPr lang="en-GB" dirty="0">
              <a:solidFill>
                <a:srgbClr val="434342"/>
              </a:solidFill>
            </a:endParaRPr>
          </a:p>
        </p:txBody>
      </p:sp>
      <p:sp>
        <p:nvSpPr>
          <p:cNvPr id="823" name="Shape 823"/>
          <p:cNvSpPr/>
          <p:nvPr/>
        </p:nvSpPr>
        <p:spPr>
          <a:xfrm>
            <a:off x="9141467" y="-200"/>
            <a:ext cx="3050800" cy="6858000"/>
          </a:xfrm>
          <a:prstGeom prst="rect">
            <a:avLst/>
          </a:prstGeom>
          <a:solidFill>
            <a:srgbClr val="41A2B0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sz="135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24" name="Shape 824"/>
          <p:cNvSpPr txBox="1">
            <a:spLocks noGrp="1"/>
          </p:cNvSpPr>
          <p:nvPr>
            <p:ph type="title"/>
          </p:nvPr>
        </p:nvSpPr>
        <p:spPr>
          <a:xfrm>
            <a:off x="212400" y="15200"/>
            <a:ext cx="9030800" cy="6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250">
                <a:solidFill>
                  <a:srgbClr val="263238"/>
                </a:solidFill>
                <a:latin typeface="Yrsa"/>
                <a:ea typeface="Yrsa"/>
                <a:cs typeface="Yrsa"/>
                <a:sym typeface="Yrs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9pPr>
          </a:lstStyle>
          <a:p>
            <a:endParaRPr/>
          </a:p>
        </p:txBody>
      </p:sp>
      <p:sp>
        <p:nvSpPr>
          <p:cNvPr id="825" name="Shape 825"/>
          <p:cNvSpPr txBox="1">
            <a:spLocks noGrp="1"/>
          </p:cNvSpPr>
          <p:nvPr>
            <p:ph type="subTitle" idx="1"/>
          </p:nvPr>
        </p:nvSpPr>
        <p:spPr>
          <a:xfrm>
            <a:off x="212400" y="595400"/>
            <a:ext cx="9030800" cy="5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26" name="Shape 826"/>
          <p:cNvSpPr txBox="1">
            <a:spLocks noGrp="1"/>
          </p:cNvSpPr>
          <p:nvPr>
            <p:ph type="body" idx="2"/>
          </p:nvPr>
        </p:nvSpPr>
        <p:spPr>
          <a:xfrm>
            <a:off x="835833" y="1410100"/>
            <a:ext cx="6339200" cy="51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900" lvl="0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028700" lvl="2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371600" lvl="3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4pPr>
            <a:lvl5pPr marL="1714500" lvl="4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057400" lvl="5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400300" lvl="6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7pPr>
            <a:lvl8pPr marL="2743200" lvl="7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086100" lvl="8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pic>
        <p:nvPicPr>
          <p:cNvPr id="827" name="Shape 827"/>
          <p:cNvPicPr preferRelativeResize="0"/>
          <p:nvPr/>
        </p:nvPicPr>
        <p:blipFill rotWithShape="1">
          <a:blip r:embed="rId2">
            <a:alphaModFix amt="12000"/>
          </a:blip>
          <a:srcRect l="74965"/>
          <a:stretch/>
        </p:blipFill>
        <p:spPr>
          <a:xfrm>
            <a:off x="9138400" y="0"/>
            <a:ext cx="3050800" cy="6840800"/>
          </a:xfrm>
          <a:prstGeom prst="rect">
            <a:avLst/>
          </a:prstGeom>
          <a:noFill/>
          <a:ln>
            <a:noFill/>
          </a:ln>
        </p:spPr>
      </p:pic>
      <p:sp>
        <p:nvSpPr>
          <p:cNvPr id="828" name="Shape 828"/>
          <p:cNvSpPr txBox="1">
            <a:spLocks noGrp="1"/>
          </p:cNvSpPr>
          <p:nvPr>
            <p:ph type="sldNum" idx="3"/>
          </p:nvPr>
        </p:nvSpPr>
        <p:spPr>
          <a:xfrm>
            <a:off x="11296600" y="6420827"/>
            <a:ext cx="731600" cy="23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lvl="1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lvl="2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lvl="3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lvl="4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lvl="5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lvl="6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lvl="7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lvl="8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8092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.0 Rulebook - Logo">
  <p:cSld name="0.0 Rulebook - Logo"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57198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" y="2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3"/>
            <a:ext cx="10363108" cy="914112"/>
          </a:xfrm>
        </p:spPr>
        <p:txBody>
          <a:bodyPr anchor="t"/>
          <a:lstStyle>
            <a:lvl1pPr>
              <a:defRPr sz="4429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6" y="2971225"/>
            <a:ext cx="10348623" cy="1751929"/>
          </a:xfrm>
        </p:spPr>
        <p:txBody>
          <a:bodyPr/>
          <a:lstStyle>
            <a:lvl1pPr marL="0" indent="0" eaLnBrk="0" hangingPunct="0">
              <a:buFontTx/>
              <a:buNone/>
              <a:defRPr sz="221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7437238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46" y="-31737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46" y="1143617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54889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A4_Landscape_presentation_260_shadow.png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91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6"/>
            <a:ext cx="10363108" cy="914111"/>
          </a:xfrm>
        </p:spPr>
        <p:txBody>
          <a:bodyPr anchor="t"/>
          <a:lstStyle>
            <a:lvl1pPr>
              <a:defRPr sz="4148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3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207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957902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38" y="4406462"/>
            <a:ext cx="10363109" cy="1361811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38" y="2906445"/>
            <a:ext cx="10363109" cy="1500008"/>
          </a:xfrm>
        </p:spPr>
        <p:txBody>
          <a:bodyPr anchor="b"/>
          <a:lstStyle>
            <a:lvl1pPr marL="0" indent="0">
              <a:buNone/>
              <a:defRPr sz="1786"/>
            </a:lvl1pPr>
            <a:lvl2pPr marL="400499" indent="0">
              <a:buNone/>
              <a:defRPr sz="1571"/>
            </a:lvl2pPr>
            <a:lvl3pPr marL="800998" indent="0">
              <a:buNone/>
              <a:defRPr sz="1429"/>
            </a:lvl3pPr>
            <a:lvl4pPr marL="1201497" indent="0">
              <a:buNone/>
              <a:defRPr sz="1214"/>
            </a:lvl4pPr>
            <a:lvl5pPr marL="1601995" indent="0">
              <a:buNone/>
              <a:defRPr sz="1214"/>
            </a:lvl5pPr>
            <a:lvl6pPr marL="2002495" indent="0">
              <a:buNone/>
              <a:defRPr sz="1214"/>
            </a:lvl6pPr>
            <a:lvl7pPr marL="2402992" indent="0">
              <a:buNone/>
              <a:defRPr sz="1214"/>
            </a:lvl7pPr>
            <a:lvl8pPr marL="2803490" indent="0">
              <a:buNone/>
              <a:defRPr sz="1214"/>
            </a:lvl8pPr>
            <a:lvl9pPr marL="3203987" indent="0">
              <a:buNone/>
              <a:defRPr sz="12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036794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36" y="1600785"/>
            <a:ext cx="5397943" cy="4048005"/>
          </a:xfrm>
        </p:spPr>
        <p:txBody>
          <a:bodyPr/>
          <a:lstStyle>
            <a:lvl1pPr>
              <a:defRPr sz="1214"/>
            </a:lvl1pPr>
            <a:lvl2pPr>
              <a:defRPr sz="1214"/>
            </a:lvl2pPr>
            <a:lvl3pPr>
              <a:defRPr sz="1214"/>
            </a:lvl3pPr>
            <a:lvl4pPr>
              <a:defRPr sz="1214"/>
            </a:lvl4pPr>
            <a:lvl5pPr>
              <a:defRPr sz="1214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25" y="1600785"/>
            <a:ext cx="5399753" cy="4048005"/>
          </a:xfrm>
        </p:spPr>
        <p:txBody>
          <a:bodyPr/>
          <a:lstStyle>
            <a:lvl1pPr>
              <a:defRPr sz="1214"/>
            </a:lvl1pPr>
            <a:lvl2pPr>
              <a:defRPr sz="1214"/>
            </a:lvl2pPr>
            <a:lvl3pPr>
              <a:defRPr sz="1214"/>
            </a:lvl3pPr>
            <a:lvl4pPr>
              <a:defRPr sz="1214"/>
            </a:lvl4pPr>
            <a:lvl5pPr>
              <a:defRPr sz="1214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286865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5" y="1534566"/>
            <a:ext cx="5387077" cy="640599"/>
          </a:xfrm>
        </p:spPr>
        <p:txBody>
          <a:bodyPr anchor="b"/>
          <a:lstStyle>
            <a:lvl1pPr marL="0" indent="0">
              <a:buNone/>
              <a:defRPr sz="2071" b="1"/>
            </a:lvl1pPr>
            <a:lvl2pPr marL="400499" indent="0">
              <a:buNone/>
              <a:defRPr sz="1786" b="1"/>
            </a:lvl2pPr>
            <a:lvl3pPr marL="800998" indent="0">
              <a:buNone/>
              <a:defRPr sz="1571" b="1"/>
            </a:lvl3pPr>
            <a:lvl4pPr marL="1201497" indent="0">
              <a:buNone/>
              <a:defRPr sz="1429" b="1"/>
            </a:lvl4pPr>
            <a:lvl5pPr marL="1601995" indent="0">
              <a:buNone/>
              <a:defRPr sz="1429" b="1"/>
            </a:lvl5pPr>
            <a:lvl6pPr marL="2002495" indent="0">
              <a:buNone/>
              <a:defRPr sz="1429" b="1"/>
            </a:lvl6pPr>
            <a:lvl7pPr marL="2402992" indent="0">
              <a:buNone/>
              <a:defRPr sz="1429" b="1"/>
            </a:lvl7pPr>
            <a:lvl8pPr marL="2803490" indent="0">
              <a:buNone/>
              <a:defRPr sz="1429" b="1"/>
            </a:lvl8pPr>
            <a:lvl9pPr marL="3203987" indent="0">
              <a:buNone/>
              <a:defRPr sz="142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5" y="2175164"/>
            <a:ext cx="5387077" cy="3951555"/>
          </a:xfrm>
        </p:spPr>
        <p:txBody>
          <a:bodyPr/>
          <a:lstStyle>
            <a:lvl1pPr>
              <a:defRPr sz="2071"/>
            </a:lvl1pPr>
            <a:lvl2pPr>
              <a:defRPr sz="1786"/>
            </a:lvl2pPr>
            <a:lvl3pPr>
              <a:defRPr sz="1571"/>
            </a:lvl3pPr>
            <a:lvl4pPr>
              <a:defRPr sz="1429"/>
            </a:lvl4pPr>
            <a:lvl5pPr>
              <a:defRPr sz="1429"/>
            </a:lvl5pPr>
            <a:lvl6pPr>
              <a:defRPr sz="1429"/>
            </a:lvl6pPr>
            <a:lvl7pPr>
              <a:defRPr sz="1429"/>
            </a:lvl7pPr>
            <a:lvl8pPr>
              <a:defRPr sz="1429"/>
            </a:lvl8pPr>
            <a:lvl9pPr>
              <a:defRPr sz="14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7" y="1534566"/>
            <a:ext cx="5388889" cy="640599"/>
          </a:xfrm>
        </p:spPr>
        <p:txBody>
          <a:bodyPr anchor="b"/>
          <a:lstStyle>
            <a:lvl1pPr marL="0" indent="0">
              <a:buNone/>
              <a:defRPr sz="2071" b="1"/>
            </a:lvl1pPr>
            <a:lvl2pPr marL="400499" indent="0">
              <a:buNone/>
              <a:defRPr sz="1786" b="1"/>
            </a:lvl2pPr>
            <a:lvl3pPr marL="800998" indent="0">
              <a:buNone/>
              <a:defRPr sz="1571" b="1"/>
            </a:lvl3pPr>
            <a:lvl4pPr marL="1201497" indent="0">
              <a:buNone/>
              <a:defRPr sz="1429" b="1"/>
            </a:lvl4pPr>
            <a:lvl5pPr marL="1601995" indent="0">
              <a:buNone/>
              <a:defRPr sz="1429" b="1"/>
            </a:lvl5pPr>
            <a:lvl6pPr marL="2002495" indent="0">
              <a:buNone/>
              <a:defRPr sz="1429" b="1"/>
            </a:lvl6pPr>
            <a:lvl7pPr marL="2402992" indent="0">
              <a:buNone/>
              <a:defRPr sz="1429" b="1"/>
            </a:lvl7pPr>
            <a:lvl8pPr marL="2803490" indent="0">
              <a:buNone/>
              <a:defRPr sz="1429" b="1"/>
            </a:lvl8pPr>
            <a:lvl9pPr marL="3203987" indent="0">
              <a:buNone/>
              <a:defRPr sz="142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7" y="2175164"/>
            <a:ext cx="5388889" cy="3951555"/>
          </a:xfrm>
        </p:spPr>
        <p:txBody>
          <a:bodyPr/>
          <a:lstStyle>
            <a:lvl1pPr>
              <a:defRPr sz="2071"/>
            </a:lvl1pPr>
            <a:lvl2pPr>
              <a:defRPr sz="1786"/>
            </a:lvl2pPr>
            <a:lvl3pPr>
              <a:defRPr sz="1571"/>
            </a:lvl3pPr>
            <a:lvl4pPr>
              <a:defRPr sz="1429"/>
            </a:lvl4pPr>
            <a:lvl5pPr>
              <a:defRPr sz="1429"/>
            </a:lvl5pPr>
            <a:lvl6pPr>
              <a:defRPr sz="1429"/>
            </a:lvl6pPr>
            <a:lvl7pPr>
              <a:defRPr sz="1429"/>
            </a:lvl7pPr>
            <a:lvl8pPr>
              <a:defRPr sz="1429"/>
            </a:lvl8pPr>
            <a:lvl9pPr>
              <a:defRPr sz="14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955553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903733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405935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19"/>
            <a:ext cx="4010883" cy="1161715"/>
          </a:xfrm>
        </p:spPr>
        <p:txBody>
          <a:bodyPr anchor="b"/>
          <a:lstStyle>
            <a:lvl1pPr algn="l">
              <a:defRPr sz="1786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92" y="273515"/>
            <a:ext cx="6815785" cy="5853196"/>
          </a:xfrm>
        </p:spPr>
        <p:txBody>
          <a:bodyPr/>
          <a:lstStyle>
            <a:lvl1pPr>
              <a:defRPr sz="2786"/>
            </a:lvl1pPr>
            <a:lvl2pPr>
              <a:defRPr sz="2500"/>
            </a:lvl2pPr>
            <a:lvl3pPr>
              <a:defRPr sz="2071"/>
            </a:lvl3pPr>
            <a:lvl4pPr>
              <a:defRPr sz="1786"/>
            </a:lvl4pPr>
            <a:lvl5pPr>
              <a:defRPr sz="17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28"/>
            <a:ext cx="4010883" cy="4691482"/>
          </a:xfrm>
        </p:spPr>
        <p:txBody>
          <a:bodyPr/>
          <a:lstStyle>
            <a:lvl1pPr marL="0" indent="0">
              <a:buNone/>
              <a:defRPr sz="1214"/>
            </a:lvl1pPr>
            <a:lvl2pPr marL="400499" indent="0">
              <a:buNone/>
              <a:defRPr sz="1071"/>
            </a:lvl2pPr>
            <a:lvl3pPr marL="800998" indent="0">
              <a:buNone/>
              <a:defRPr sz="929"/>
            </a:lvl3pPr>
            <a:lvl4pPr marL="1201497" indent="0">
              <a:buNone/>
              <a:defRPr sz="786"/>
            </a:lvl4pPr>
            <a:lvl5pPr marL="1601995" indent="0">
              <a:buNone/>
              <a:defRPr sz="786"/>
            </a:lvl5pPr>
            <a:lvl6pPr marL="2002495" indent="0">
              <a:buNone/>
              <a:defRPr sz="786"/>
            </a:lvl6pPr>
            <a:lvl7pPr marL="2402992" indent="0">
              <a:buNone/>
              <a:defRPr sz="786"/>
            </a:lvl7pPr>
            <a:lvl8pPr marL="2803490" indent="0">
              <a:buNone/>
              <a:defRPr sz="786"/>
            </a:lvl8pPr>
            <a:lvl9pPr marL="3203987" indent="0">
              <a:buNone/>
              <a:defRPr sz="78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142287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5" y="4800898"/>
            <a:ext cx="7315561" cy="565741"/>
          </a:xfrm>
        </p:spPr>
        <p:txBody>
          <a:bodyPr anchor="b"/>
          <a:lstStyle>
            <a:lvl1pPr algn="l">
              <a:defRPr sz="1786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5" y="613247"/>
            <a:ext cx="7315561" cy="4114224"/>
          </a:xfrm>
        </p:spPr>
        <p:txBody>
          <a:bodyPr/>
          <a:lstStyle>
            <a:lvl1pPr marL="0" indent="0">
              <a:buNone/>
              <a:defRPr sz="2786"/>
            </a:lvl1pPr>
            <a:lvl2pPr marL="400499" indent="0">
              <a:buNone/>
              <a:defRPr sz="2500"/>
            </a:lvl2pPr>
            <a:lvl3pPr marL="800998" indent="0">
              <a:buNone/>
              <a:defRPr sz="2071"/>
            </a:lvl3pPr>
            <a:lvl4pPr marL="1201497" indent="0">
              <a:buNone/>
              <a:defRPr sz="1786"/>
            </a:lvl4pPr>
            <a:lvl5pPr marL="1601995" indent="0">
              <a:buNone/>
              <a:defRPr sz="1786"/>
            </a:lvl5pPr>
            <a:lvl6pPr marL="2002495" indent="0">
              <a:buNone/>
              <a:defRPr sz="1786"/>
            </a:lvl6pPr>
            <a:lvl7pPr marL="2402992" indent="0">
              <a:buNone/>
              <a:defRPr sz="1786"/>
            </a:lvl7pPr>
            <a:lvl8pPr marL="2803490" indent="0">
              <a:buNone/>
              <a:defRPr sz="1786"/>
            </a:lvl8pPr>
            <a:lvl9pPr marL="3203987" indent="0">
              <a:buNone/>
              <a:defRPr sz="1786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5" y="5366630"/>
            <a:ext cx="7315561" cy="806146"/>
          </a:xfrm>
        </p:spPr>
        <p:txBody>
          <a:bodyPr/>
          <a:lstStyle>
            <a:lvl1pPr marL="0" indent="0">
              <a:buNone/>
              <a:defRPr sz="1214"/>
            </a:lvl1pPr>
            <a:lvl2pPr marL="400499" indent="0">
              <a:buNone/>
              <a:defRPr sz="1071"/>
            </a:lvl2pPr>
            <a:lvl3pPr marL="800998" indent="0">
              <a:buNone/>
              <a:defRPr sz="929"/>
            </a:lvl3pPr>
            <a:lvl4pPr marL="1201497" indent="0">
              <a:buNone/>
              <a:defRPr sz="786"/>
            </a:lvl4pPr>
            <a:lvl5pPr marL="1601995" indent="0">
              <a:buNone/>
              <a:defRPr sz="786"/>
            </a:lvl5pPr>
            <a:lvl6pPr marL="2002495" indent="0">
              <a:buNone/>
              <a:defRPr sz="786"/>
            </a:lvl6pPr>
            <a:lvl7pPr marL="2402992" indent="0">
              <a:buNone/>
              <a:defRPr sz="786"/>
            </a:lvl7pPr>
            <a:lvl8pPr marL="2803490" indent="0">
              <a:buNone/>
              <a:defRPr sz="786"/>
            </a:lvl8pPr>
            <a:lvl9pPr marL="3203987" indent="0">
              <a:buNone/>
              <a:defRPr sz="78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852928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49918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2" y="274955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6" y="274955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186964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3214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19" y="1078312"/>
            <a:ext cx="11157084" cy="4179888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76404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A4423DE9-EF5E-45C2-A44C-C472AFBF2A5E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81580251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1755"/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681755"/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209936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33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791"/>
            </a:lvl1pPr>
            <a:lvl2pPr marL="375589" indent="0">
              <a:buNone/>
              <a:defRPr sz="1508"/>
            </a:lvl2pPr>
            <a:lvl3pPr marL="751206" indent="0">
              <a:buNone/>
              <a:defRPr sz="1320"/>
            </a:lvl3pPr>
            <a:lvl4pPr marL="1126811" indent="0">
              <a:buNone/>
              <a:defRPr sz="1131"/>
            </a:lvl4pPr>
            <a:lvl5pPr marL="1502416" indent="0">
              <a:buNone/>
              <a:defRPr sz="1131"/>
            </a:lvl5pPr>
            <a:lvl6pPr marL="1878024" indent="0">
              <a:buNone/>
              <a:defRPr sz="1131"/>
            </a:lvl6pPr>
            <a:lvl7pPr marL="2253628" indent="0">
              <a:buNone/>
              <a:defRPr sz="1131"/>
            </a:lvl7pPr>
            <a:lvl8pPr marL="2629237" indent="0">
              <a:buNone/>
              <a:defRPr sz="1131"/>
            </a:lvl8pPr>
            <a:lvl9pPr marL="3004842" indent="0">
              <a:buNone/>
              <a:defRPr sz="113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299BB5E6-B154-485D-B816-28415185B406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822094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3"/>
            <a:ext cx="539794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3"/>
            <a:ext cx="539975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3E61776-EC1C-40F8-82E8-101CAD6C4706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013235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9" y="1534560"/>
            <a:ext cx="538707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9" y="2175207"/>
            <a:ext cx="538707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8" y="1534560"/>
            <a:ext cx="538888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8" y="2175207"/>
            <a:ext cx="538888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B2535D2-68B8-432B-8A87-70207F901C6B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223539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E1EC0F64-C217-48A1-9452-9D4EDB799B51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53186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7AC6F386-729E-46F5-84A4-C64C04B9058E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2790573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5647AF3-D27E-4F47-9339-38931EE1289B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936907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6" y="273516"/>
            <a:ext cx="6815785" cy="5853196"/>
          </a:xfrm>
        </p:spPr>
        <p:txBody>
          <a:bodyPr/>
          <a:lstStyle>
            <a:lvl1pPr>
              <a:defRPr sz="2640"/>
            </a:lvl1pPr>
            <a:lvl2pPr>
              <a:defRPr sz="2452"/>
            </a:lvl2pPr>
            <a:lvl3pPr>
              <a:defRPr sz="1980"/>
            </a:lvl3pPr>
            <a:lvl4pPr>
              <a:defRPr sz="1791"/>
            </a:lvl4pPr>
            <a:lvl5pPr>
              <a:defRPr sz="1791"/>
            </a:lvl5pPr>
            <a:lvl6pPr>
              <a:defRPr sz="1791"/>
            </a:lvl6pPr>
            <a:lvl7pPr>
              <a:defRPr sz="1791"/>
            </a:lvl7pPr>
            <a:lvl8pPr>
              <a:defRPr sz="1791"/>
            </a:lvl8pPr>
            <a:lvl9pPr>
              <a:defRPr sz="17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AEF17F6-96C4-4C3D-ADA2-D9949906A7CE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7728015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1" y="4800938"/>
            <a:ext cx="7315561" cy="565741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1" y="613247"/>
            <a:ext cx="7315561" cy="4114224"/>
          </a:xfrm>
        </p:spPr>
        <p:txBody>
          <a:bodyPr/>
          <a:lstStyle>
            <a:lvl1pPr marL="0" indent="0">
              <a:buNone/>
              <a:defRPr sz="2640"/>
            </a:lvl1pPr>
            <a:lvl2pPr marL="375589" indent="0">
              <a:buNone/>
              <a:defRPr sz="2452"/>
            </a:lvl2pPr>
            <a:lvl3pPr marL="751206" indent="0">
              <a:buNone/>
              <a:defRPr sz="1980"/>
            </a:lvl3pPr>
            <a:lvl4pPr marL="1126811" indent="0">
              <a:buNone/>
              <a:defRPr sz="1791"/>
            </a:lvl4pPr>
            <a:lvl5pPr marL="1502416" indent="0">
              <a:buNone/>
              <a:defRPr sz="1791"/>
            </a:lvl5pPr>
            <a:lvl6pPr marL="1878024" indent="0">
              <a:buNone/>
              <a:defRPr sz="1791"/>
            </a:lvl6pPr>
            <a:lvl7pPr marL="2253628" indent="0">
              <a:buNone/>
              <a:defRPr sz="1791"/>
            </a:lvl7pPr>
            <a:lvl8pPr marL="2629237" indent="0">
              <a:buNone/>
              <a:defRPr sz="1791"/>
            </a:lvl8pPr>
            <a:lvl9pPr marL="3004842" indent="0">
              <a:buNone/>
              <a:defRPr sz="1791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1" y="5366631"/>
            <a:ext cx="7315561" cy="806146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12D7C5F4-CE1B-438A-B143-AC617DE4F198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2128012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03A48A39-F761-4F7C-A58D-305E7C860698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8522696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2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2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715E6BFE-E9A7-4CEA-95D0-413766E12CED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9696298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0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92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5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902703FF-AB8B-4BDE-A2B7-4AFC02B6D121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6524654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9215967" y="6461125"/>
            <a:ext cx="2743200" cy="363538"/>
          </a:xfrm>
          <a:prstGeom prst="rect">
            <a:avLst/>
          </a:prstGeom>
        </p:spPr>
        <p:txBody>
          <a:bodyPr lIns="78191" tIns="39095" rIns="78191" bIns="39095" anchor="ctr"/>
          <a:lstStyle>
            <a:defPPr>
              <a:defRPr lang="en-US"/>
            </a:defPPr>
            <a:lvl1pPr marL="0" algn="r" defTabSz="1043056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EFD429A1-2D5F-4F79-8BA5-516DC3E7441C}" type="slidenum">
              <a:rPr lang="en-IE" sz="1026" smtClean="0">
                <a:solidFill>
                  <a:srgbClr val="000000">
                    <a:tint val="75000"/>
                  </a:srgb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IE" sz="1026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147300" y="25400"/>
            <a:ext cx="2034117" cy="152400"/>
          </a:xfrm>
        </p:spPr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89C2021-57F6-4E09-B110-D7DE453716C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20253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609600" y="624205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97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E636F3AB-6976-4D0F-9073-6261BE3F00A3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7099095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A4_Landscape_presentation_260_shadow.png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91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6"/>
            <a:ext cx="10363108" cy="914111"/>
          </a:xfrm>
        </p:spPr>
        <p:txBody>
          <a:bodyPr anchor="t"/>
          <a:lstStyle>
            <a:lvl1pPr>
              <a:defRPr sz="4148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3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207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187479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33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791"/>
            </a:lvl1pPr>
            <a:lvl2pPr marL="375589" indent="0">
              <a:buNone/>
              <a:defRPr sz="1508"/>
            </a:lvl2pPr>
            <a:lvl3pPr marL="751206" indent="0">
              <a:buNone/>
              <a:defRPr sz="1320"/>
            </a:lvl3pPr>
            <a:lvl4pPr marL="1126811" indent="0">
              <a:buNone/>
              <a:defRPr sz="1131"/>
            </a:lvl4pPr>
            <a:lvl5pPr marL="1502416" indent="0">
              <a:buNone/>
              <a:defRPr sz="1131"/>
            </a:lvl5pPr>
            <a:lvl6pPr marL="1878024" indent="0">
              <a:buNone/>
              <a:defRPr sz="1131"/>
            </a:lvl6pPr>
            <a:lvl7pPr marL="2253628" indent="0">
              <a:buNone/>
              <a:defRPr sz="1131"/>
            </a:lvl7pPr>
            <a:lvl8pPr marL="2629237" indent="0">
              <a:buNone/>
              <a:defRPr sz="1131"/>
            </a:lvl8pPr>
            <a:lvl9pPr marL="3004842" indent="0">
              <a:buNone/>
              <a:defRPr sz="113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47FEA661-B5CC-4151-927E-C5A10AECEBAC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0675301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801837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D38505B-7DCB-498C-B1BD-80567AA6A285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7990594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33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791"/>
            </a:lvl1pPr>
            <a:lvl2pPr marL="375589" indent="0">
              <a:buNone/>
              <a:defRPr sz="1508"/>
            </a:lvl2pPr>
            <a:lvl3pPr marL="751206" indent="0">
              <a:buNone/>
              <a:defRPr sz="1320"/>
            </a:lvl3pPr>
            <a:lvl4pPr marL="1126811" indent="0">
              <a:buNone/>
              <a:defRPr sz="1131"/>
            </a:lvl4pPr>
            <a:lvl5pPr marL="1502416" indent="0">
              <a:buNone/>
              <a:defRPr sz="1131"/>
            </a:lvl5pPr>
            <a:lvl6pPr marL="1878024" indent="0">
              <a:buNone/>
              <a:defRPr sz="1131"/>
            </a:lvl6pPr>
            <a:lvl7pPr marL="2253628" indent="0">
              <a:buNone/>
              <a:defRPr sz="1131"/>
            </a:lvl7pPr>
            <a:lvl8pPr marL="2629237" indent="0">
              <a:buNone/>
              <a:defRPr sz="1131"/>
            </a:lvl8pPr>
            <a:lvl9pPr marL="3004842" indent="0">
              <a:buNone/>
              <a:defRPr sz="113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FD3EDBD-29D2-48BD-820A-C64AACFAB16E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3136711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3"/>
            <a:ext cx="539794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3"/>
            <a:ext cx="539975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E6D3085-8E5A-46DC-A58A-88C5953CAF37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0184272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9" y="1534560"/>
            <a:ext cx="538707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9" y="2175207"/>
            <a:ext cx="538707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8" y="1534560"/>
            <a:ext cx="538888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8" y="2175207"/>
            <a:ext cx="538888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42253297-4909-4C7A-B658-07D262FD06AB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449263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424359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98ADDAC7-8C86-4EDF-9D12-1B876ACD5E88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2426735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AC357695-521D-43C0-917E-42B912D7749B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3907610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6" y="273516"/>
            <a:ext cx="6815785" cy="5853196"/>
          </a:xfrm>
        </p:spPr>
        <p:txBody>
          <a:bodyPr/>
          <a:lstStyle>
            <a:lvl1pPr>
              <a:defRPr sz="2640"/>
            </a:lvl1pPr>
            <a:lvl2pPr>
              <a:defRPr sz="2452"/>
            </a:lvl2pPr>
            <a:lvl3pPr>
              <a:defRPr sz="1980"/>
            </a:lvl3pPr>
            <a:lvl4pPr>
              <a:defRPr sz="1791"/>
            </a:lvl4pPr>
            <a:lvl5pPr>
              <a:defRPr sz="1791"/>
            </a:lvl5pPr>
            <a:lvl6pPr>
              <a:defRPr sz="1791"/>
            </a:lvl6pPr>
            <a:lvl7pPr>
              <a:defRPr sz="1791"/>
            </a:lvl7pPr>
            <a:lvl8pPr>
              <a:defRPr sz="1791"/>
            </a:lvl8pPr>
            <a:lvl9pPr>
              <a:defRPr sz="17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AADE25F6-B5DF-4494-A76E-7E1321E3CE6D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3496497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1" y="4800938"/>
            <a:ext cx="7315561" cy="565741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1" y="613247"/>
            <a:ext cx="7315561" cy="4114224"/>
          </a:xfrm>
        </p:spPr>
        <p:txBody>
          <a:bodyPr/>
          <a:lstStyle>
            <a:lvl1pPr marL="0" indent="0">
              <a:buNone/>
              <a:defRPr sz="2640"/>
            </a:lvl1pPr>
            <a:lvl2pPr marL="375589" indent="0">
              <a:buNone/>
              <a:defRPr sz="2452"/>
            </a:lvl2pPr>
            <a:lvl3pPr marL="751206" indent="0">
              <a:buNone/>
              <a:defRPr sz="1980"/>
            </a:lvl3pPr>
            <a:lvl4pPr marL="1126811" indent="0">
              <a:buNone/>
              <a:defRPr sz="1791"/>
            </a:lvl4pPr>
            <a:lvl5pPr marL="1502416" indent="0">
              <a:buNone/>
              <a:defRPr sz="1791"/>
            </a:lvl5pPr>
            <a:lvl6pPr marL="1878024" indent="0">
              <a:buNone/>
              <a:defRPr sz="1791"/>
            </a:lvl6pPr>
            <a:lvl7pPr marL="2253628" indent="0">
              <a:buNone/>
              <a:defRPr sz="1791"/>
            </a:lvl7pPr>
            <a:lvl8pPr marL="2629237" indent="0">
              <a:buNone/>
              <a:defRPr sz="1791"/>
            </a:lvl8pPr>
            <a:lvl9pPr marL="3004842" indent="0">
              <a:buNone/>
              <a:defRPr sz="1791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1" y="5366631"/>
            <a:ext cx="7315561" cy="806146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1FE6AA8B-4017-483F-9B1D-4747DB7D0496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5648425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E50FE40-ADAE-4768-AEDF-33C7BE70ABE7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121470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2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2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4A42732F-BD1E-4256-A375-14E3BAB146A3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164730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3"/>
            <a:ext cx="539794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3"/>
            <a:ext cx="539975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FE5869B-BFBF-41F5-84BA-0196101F9FB1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2401718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92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5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E8284EF0-7054-4C16-A0FC-AD92E8C5F3CC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6656821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9215967" y="6461125"/>
            <a:ext cx="2743200" cy="363538"/>
          </a:xfrm>
          <a:prstGeom prst="rect">
            <a:avLst/>
          </a:prstGeom>
        </p:spPr>
        <p:txBody>
          <a:bodyPr lIns="78191" tIns="39095" rIns="78191" bIns="39095" anchor="ctr"/>
          <a:lstStyle>
            <a:defPPr>
              <a:defRPr lang="en-US"/>
            </a:defPPr>
            <a:lvl1pPr marL="0" algn="r" defTabSz="1043056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D9D9BFC5-B8E3-4F97-81BB-45D7A3B37938}" type="slidenum">
              <a:rPr lang="en-IE" sz="1026" smtClean="0">
                <a:solidFill>
                  <a:srgbClr val="000000">
                    <a:tint val="75000"/>
                  </a:srgb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IE" sz="1026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147300" y="25400"/>
            <a:ext cx="2034117" cy="152400"/>
          </a:xfrm>
        </p:spPr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CDDB2E1-B83D-44AB-8CDD-55F0DEB4340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44909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609600" y="624205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97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667F15E6-D49F-4222-94C6-74942DE9F242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4149210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856" y="5340096"/>
            <a:ext cx="1316736" cy="1156968"/>
          </a:xfrm>
          <a:prstGeom prst="rect">
            <a:avLst/>
          </a:prstGeom>
        </p:spPr>
      </p:pic>
      <p:sp>
        <p:nvSpPr>
          <p:cNvPr id="16" name="Rectangle 1"/>
          <p:cNvSpPr>
            <a:spLocks noChangeAspect="1"/>
          </p:cNvSpPr>
          <p:nvPr userDrawn="1"/>
        </p:nvSpPr>
        <p:spPr>
          <a:xfrm>
            <a:off x="2577042" y="777241"/>
            <a:ext cx="9007476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950463" y="2240280"/>
            <a:ext cx="829056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2950464" y="3220754"/>
            <a:ext cx="829056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0" indent="0" algn="l">
              <a:buNone/>
              <a:defRPr sz="1600">
                <a:solidFill>
                  <a:srgbClr val="404040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88889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856" y="5340096"/>
            <a:ext cx="1316736" cy="1156968"/>
          </a:xfrm>
          <a:prstGeom prst="rect">
            <a:avLst/>
          </a:prstGeom>
        </p:spPr>
      </p:pic>
      <p:sp>
        <p:nvSpPr>
          <p:cNvPr id="3" name="Freeform 5"/>
          <p:cNvSpPr>
            <a:spLocks noChangeAspect="1"/>
          </p:cNvSpPr>
          <p:nvPr userDrawn="1"/>
        </p:nvSpPr>
        <p:spPr bwMode="gray">
          <a:xfrm rot="10800000">
            <a:off x="4369393" y="457201"/>
            <a:ext cx="7217664" cy="4570413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742812" y="1677507"/>
            <a:ext cx="6534912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742812" y="2685128"/>
            <a:ext cx="6534912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19184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8709" y="2405084"/>
            <a:ext cx="12200709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646464"/>
                </a:solidFill>
                <a:latin typeface="Arial"/>
                <a:ea typeface="+mn-ea"/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23616" y="777600"/>
            <a:ext cx="7365771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23616" y="1753200"/>
            <a:ext cx="7365771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10" name="Picture 9" descr="EY_Logo2.em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23617" y="5754254"/>
            <a:ext cx="1318871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36274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25601"/>
            <a:ext cx="10972800" cy="46989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fld id="{D7B4CD9F-E57F-B14C-8601-6E93234C94D7}" type="datetime1">
              <a:rPr lang="en-GB" smtClean="0">
                <a:solidFill>
                  <a:srgbClr val="646464"/>
                </a:solidFill>
              </a:rPr>
              <a:pPr/>
              <a:t>29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51200" y="6492240"/>
            <a:ext cx="5388000" cy="201168"/>
          </a:xfrm>
        </p:spPr>
        <p:txBody>
          <a:bodyPr/>
          <a:lstStyle>
            <a:lvl1pPr>
              <a:defRPr sz="900"/>
            </a:lvl1pPr>
          </a:lstStyle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21413837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25599"/>
            <a:ext cx="109728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770C3-A9D5-D943-AD3D-30E5233CB073}" type="datetime1">
              <a:rPr lang="en-GB" smtClean="0">
                <a:solidFill>
                  <a:srgbClr val="646464"/>
                </a:solidFill>
              </a:rPr>
              <a:pPr/>
              <a:t>29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38163364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25599"/>
            <a:ext cx="109728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21B62-A476-954C-8B3C-F25D8A05034D}" type="datetime1">
              <a:rPr lang="en-GB" smtClean="0">
                <a:solidFill>
                  <a:srgbClr val="646464"/>
                </a:solidFill>
              </a:rPr>
              <a:pPr/>
              <a:t>29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23032003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DE491-CDEB-014E-BF6F-5144355BA38E}" type="datetime1">
              <a:rPr lang="en-GB" smtClean="0">
                <a:solidFill>
                  <a:srgbClr val="646464"/>
                </a:solidFill>
              </a:rPr>
              <a:pPr/>
              <a:t>29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7442396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9" y="1534560"/>
            <a:ext cx="538707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9" y="2175207"/>
            <a:ext cx="538707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8" y="1534560"/>
            <a:ext cx="538888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8" y="2175207"/>
            <a:ext cx="538888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3AE42DFF-7B08-4ABD-A882-13663293E7D3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719483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CC13E-4AF5-264C-B16D-C2AB7993FD9F}" type="datetime1">
              <a:rPr lang="en-GB" smtClean="0">
                <a:solidFill>
                  <a:srgbClr val="646464"/>
                </a:solidFill>
              </a:rPr>
              <a:pPr/>
              <a:t>29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26270130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26465"/>
            <a:ext cx="5384800" cy="469106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26465"/>
            <a:ext cx="5384800" cy="469106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8F28B-84D5-D74A-89D7-B4BA2E380BB4}" type="datetime1">
              <a:rPr lang="en-GB" smtClean="0">
                <a:solidFill>
                  <a:srgbClr val="646464"/>
                </a:solidFill>
              </a:rPr>
              <a:pPr/>
              <a:t>29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24982851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121114"/>
            <a:ext cx="53904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1600" y="2121114"/>
            <a:ext cx="53904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0" y="1426464"/>
            <a:ext cx="53904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201600" y="1426464"/>
            <a:ext cx="53904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C17BE14-B522-B049-AE70-9F84EAF909A6}" type="datetime1">
              <a:rPr lang="en-GB" smtClean="0">
                <a:solidFill>
                  <a:srgbClr val="646464"/>
                </a:solidFill>
              </a:rPr>
              <a:pPr/>
              <a:t>29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2535380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07485" y="1024129"/>
            <a:ext cx="109728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6FE4918-7868-1E4F-8249-03544962F422}" type="datetime1">
              <a:rPr lang="en-GB" smtClean="0">
                <a:solidFill>
                  <a:srgbClr val="646464"/>
                </a:solidFill>
              </a:rPr>
              <a:pPr/>
              <a:t>29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30511280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0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609600" y="1042417"/>
            <a:ext cx="109728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646464"/>
              </a:solidFill>
              <a:latin typeface="Arial"/>
              <a:ea typeface="+mn-ea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EBB205-8E6E-584E-ABE8-7960ED570CB1}" type="datetime1">
              <a:rPr lang="en-GB" smtClean="0">
                <a:solidFill>
                  <a:srgbClr val="646464"/>
                </a:solidFill>
              </a:rPr>
              <a:pPr/>
              <a:t>29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19165438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0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609600" y="1042417"/>
            <a:ext cx="109728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646464"/>
              </a:solidFill>
              <a:latin typeface="Arial"/>
              <a:ea typeface="+mn-ea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B57C44-143E-C14C-95D1-B5822E9032B8}" type="datetime1">
              <a:rPr lang="en-GB" smtClean="0">
                <a:solidFill>
                  <a:srgbClr val="646464"/>
                </a:solidFill>
              </a:rPr>
              <a:pPr/>
              <a:t>29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6107046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0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5" name="Freeform 5"/>
          <p:cNvSpPr>
            <a:spLocks/>
          </p:cNvSpPr>
          <p:nvPr userDrawn="1"/>
        </p:nvSpPr>
        <p:spPr bwMode="gray">
          <a:xfrm>
            <a:off x="609600" y="1033273"/>
            <a:ext cx="109728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646464"/>
              </a:solidFill>
              <a:latin typeface="Arial"/>
              <a:ea typeface="+mn-ea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04845-0A87-5845-B358-88F739EA5C24}" type="datetime1">
              <a:rPr lang="en-GB" smtClean="0">
                <a:solidFill>
                  <a:srgbClr val="646464"/>
                </a:solidFill>
              </a:rPr>
              <a:pPr/>
              <a:t>29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1286036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7484" y="6243638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  <a:latin typeface="Arial"/>
              <a:ea typeface="+mn-ea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C3789B-6751-124A-9E7F-5CBBC414BA43}" type="datetime1">
              <a:rPr lang="en-GB" smtClean="0">
                <a:solidFill>
                  <a:srgbClr val="646464"/>
                </a:solidFill>
              </a:rPr>
              <a:pPr/>
              <a:t>29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14939166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5458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49361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363D3AE5-E3F1-443C-BA99-1723AB9EF7D2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6361643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 bwMode="gray">
          <a:xfrm>
            <a:off x="624418" y="620575"/>
            <a:ext cx="5473700" cy="23512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39" eaLnBrk="1" fontAlgn="auto" hangingPunct="1"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  <a:defRPr/>
            </a:pPr>
            <a:r>
              <a:rPr lang="en-US" sz="1200" b="1" dirty="0">
                <a:solidFill>
                  <a:srgbClr val="646464"/>
                </a:solidFill>
                <a:latin typeface="Arial"/>
                <a:ea typeface="+mn-ea"/>
              </a:rPr>
              <a:t>EY</a:t>
            </a:r>
            <a:r>
              <a:rPr lang="en-GB" sz="1200" dirty="0">
                <a:solidFill>
                  <a:srgbClr val="646464"/>
                </a:solidFill>
                <a:latin typeface="Arial"/>
                <a:ea typeface="+mn-ea"/>
              </a:rPr>
              <a:t> | Assurance | Tax | Transactions | Advisory</a:t>
            </a:r>
          </a:p>
          <a:p>
            <a:pPr marL="0" lvl="3" defTabSz="914239" eaLnBrk="1" fontAlgn="auto" hangingPunct="1">
              <a:spcBef>
                <a:spcPts val="0"/>
              </a:spcBef>
              <a:spcAft>
                <a:spcPts val="1400"/>
              </a:spcAft>
              <a:buSzPct val="75000"/>
              <a:defRPr/>
            </a:pPr>
            <a:r>
              <a:rPr lang="en-GB" sz="1200" dirty="0">
                <a:solidFill>
                  <a:srgbClr val="646464"/>
                </a:solidFill>
                <a:latin typeface="Arial"/>
                <a:ea typeface="+mn-ea"/>
              </a:rPr>
              <a:t>Ernst &amp; Young LLP</a:t>
            </a:r>
          </a:p>
          <a:p>
            <a:pPr marL="0" lvl="3" defTabSz="914239" eaLnBrk="1" fontAlgn="auto" hangingPunct="1">
              <a:spcBef>
                <a:spcPts val="0"/>
              </a:spcBef>
              <a:spcAft>
                <a:spcPts val="800"/>
              </a:spcAft>
              <a:buSzPct val="75000"/>
              <a:defRPr/>
            </a:pPr>
            <a:r>
              <a:rPr lang="en-GB" sz="900" dirty="0">
                <a:solidFill>
                  <a:srgbClr val="646464"/>
                </a:solidFill>
                <a:latin typeface="Arial"/>
                <a:ea typeface="+mn-ea"/>
              </a:rPr>
              <a:t>© 2015 Ernst &amp; Young LLP. Published in the UK.</a:t>
            </a:r>
            <a:br>
              <a:rPr lang="en-GB" sz="900" dirty="0">
                <a:solidFill>
                  <a:srgbClr val="646464"/>
                </a:solidFill>
                <a:latin typeface="Arial"/>
                <a:ea typeface="+mn-ea"/>
              </a:rPr>
            </a:br>
            <a:r>
              <a:rPr lang="en-GB" sz="900" spc="-10" dirty="0">
                <a:solidFill>
                  <a:srgbClr val="646464"/>
                </a:solidFill>
                <a:latin typeface="Arial"/>
                <a:ea typeface="+mn-ea"/>
              </a:rPr>
              <a:t>All Rights Reserved.</a:t>
            </a:r>
          </a:p>
          <a:p>
            <a:pPr marL="0" lvl="3" defTabSz="914239" eaLnBrk="1" fontAlgn="auto" hangingPunct="1">
              <a:spcBef>
                <a:spcPts val="0"/>
              </a:spcBef>
              <a:spcAft>
                <a:spcPts val="800"/>
              </a:spcAft>
              <a:buSzPct val="75000"/>
              <a:defRPr/>
            </a:pPr>
            <a:r>
              <a:rPr lang="en-GB" sz="800" spc="-20" dirty="0">
                <a:solidFill>
                  <a:srgbClr val="646464"/>
                </a:solidFill>
                <a:latin typeface="Arial"/>
                <a:ea typeface="+mn-ea"/>
              </a:rPr>
              <a:t>The UK firm Ernst &amp; Young LLP is a limited liability partnership registered in England and Wales</a:t>
            </a:r>
            <a:br>
              <a:rPr lang="en-GB" sz="800" spc="-20" dirty="0">
                <a:solidFill>
                  <a:srgbClr val="646464"/>
                </a:solidFill>
                <a:latin typeface="Arial"/>
                <a:ea typeface="+mn-ea"/>
              </a:rPr>
            </a:br>
            <a:r>
              <a:rPr lang="en-GB" sz="800" spc="-20" dirty="0">
                <a:solidFill>
                  <a:srgbClr val="646464"/>
                </a:solidFill>
                <a:latin typeface="Arial"/>
                <a:ea typeface="+mn-ea"/>
              </a:rPr>
              <a:t>with registered number OC300001 and is a member firm of Ernst &amp; Young Global Limited.</a:t>
            </a:r>
          </a:p>
          <a:p>
            <a:pPr marL="0" lvl="3" defTabSz="914239" eaLnBrk="1" fontAlgn="auto" hangingPunct="1">
              <a:spcBef>
                <a:spcPts val="0"/>
              </a:spcBef>
              <a:spcAft>
                <a:spcPts val="800"/>
              </a:spcAft>
              <a:buSzPct val="75000"/>
              <a:defRPr/>
            </a:pPr>
            <a:r>
              <a:rPr lang="en-GB" sz="800" spc="-20" dirty="0">
                <a:solidFill>
                  <a:srgbClr val="646464"/>
                </a:solidFill>
                <a:latin typeface="Arial"/>
                <a:ea typeface="+mn-ea"/>
              </a:rPr>
              <a:t>Ernst &amp; Young LLP, 1 More London Place, London, SE1 2AF.</a:t>
            </a:r>
          </a:p>
          <a:p>
            <a:pPr marL="0" lvl="3" defTabSz="914239" eaLnBrk="1" fontAlgn="auto" hangingPunct="1">
              <a:spcBef>
                <a:spcPts val="0"/>
              </a:spcBef>
              <a:spcAft>
                <a:spcPts val="438"/>
              </a:spcAft>
              <a:buSzPct val="75000"/>
              <a:defRPr/>
            </a:pPr>
            <a:r>
              <a:rPr lang="en-GB" sz="1050" dirty="0">
                <a:solidFill>
                  <a:srgbClr val="646464"/>
                </a:solidFill>
                <a:latin typeface="Arial"/>
                <a:ea typeface="+mn-ea"/>
              </a:rPr>
              <a:t>ey.com</a:t>
            </a:r>
            <a:endParaRPr lang="en-GB" sz="900" dirty="0">
              <a:solidFill>
                <a:srgbClr val="646464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85135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381000"/>
            <a:ext cx="10363200" cy="9906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4400" y="1524000"/>
            <a:ext cx="10363200" cy="49530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51849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" y="2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3"/>
            <a:ext cx="10363108" cy="914112"/>
          </a:xfrm>
        </p:spPr>
        <p:txBody>
          <a:bodyPr anchor="t"/>
          <a:lstStyle>
            <a:lvl1pPr>
              <a:defRPr sz="4429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6" y="2971225"/>
            <a:ext cx="10348623" cy="1751929"/>
          </a:xfrm>
        </p:spPr>
        <p:txBody>
          <a:bodyPr/>
          <a:lstStyle>
            <a:lvl1pPr marL="0" indent="0" eaLnBrk="0" hangingPunct="0">
              <a:buFontTx/>
              <a:buNone/>
              <a:defRPr sz="221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914446" y="5028336"/>
            <a:ext cx="5272346" cy="885452"/>
          </a:xfrm>
          <a:prstGeom prst="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42573429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46" y="-31737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46" y="1143617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41283472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38" y="4406462"/>
            <a:ext cx="10363109" cy="1361811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38" y="2906445"/>
            <a:ext cx="10363109" cy="1500008"/>
          </a:xfrm>
        </p:spPr>
        <p:txBody>
          <a:bodyPr anchor="b"/>
          <a:lstStyle>
            <a:lvl1pPr marL="0" indent="0">
              <a:buNone/>
              <a:defRPr sz="1786"/>
            </a:lvl1pPr>
            <a:lvl2pPr marL="400499" indent="0">
              <a:buNone/>
              <a:defRPr sz="1571"/>
            </a:lvl2pPr>
            <a:lvl3pPr marL="800998" indent="0">
              <a:buNone/>
              <a:defRPr sz="1429"/>
            </a:lvl3pPr>
            <a:lvl4pPr marL="1201497" indent="0">
              <a:buNone/>
              <a:defRPr sz="1214"/>
            </a:lvl4pPr>
            <a:lvl5pPr marL="1601995" indent="0">
              <a:buNone/>
              <a:defRPr sz="1214"/>
            </a:lvl5pPr>
            <a:lvl6pPr marL="2002495" indent="0">
              <a:buNone/>
              <a:defRPr sz="1214"/>
            </a:lvl6pPr>
            <a:lvl7pPr marL="2402992" indent="0">
              <a:buNone/>
              <a:defRPr sz="1214"/>
            </a:lvl7pPr>
            <a:lvl8pPr marL="2803490" indent="0">
              <a:buNone/>
              <a:defRPr sz="1214"/>
            </a:lvl8pPr>
            <a:lvl9pPr marL="3203987" indent="0">
              <a:buNone/>
              <a:defRPr sz="12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56338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36" y="1600785"/>
            <a:ext cx="5397943" cy="4048005"/>
          </a:xfrm>
        </p:spPr>
        <p:txBody>
          <a:bodyPr/>
          <a:lstStyle>
            <a:lvl1pPr>
              <a:defRPr sz="1214"/>
            </a:lvl1pPr>
            <a:lvl2pPr>
              <a:defRPr sz="1214"/>
            </a:lvl2pPr>
            <a:lvl3pPr>
              <a:defRPr sz="1214"/>
            </a:lvl3pPr>
            <a:lvl4pPr>
              <a:defRPr sz="1214"/>
            </a:lvl4pPr>
            <a:lvl5pPr>
              <a:defRPr sz="1214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25" y="1600785"/>
            <a:ext cx="5399753" cy="4048005"/>
          </a:xfrm>
        </p:spPr>
        <p:txBody>
          <a:bodyPr/>
          <a:lstStyle>
            <a:lvl1pPr>
              <a:defRPr sz="1214"/>
            </a:lvl1pPr>
            <a:lvl2pPr>
              <a:defRPr sz="1214"/>
            </a:lvl2pPr>
            <a:lvl3pPr>
              <a:defRPr sz="1214"/>
            </a:lvl3pPr>
            <a:lvl4pPr>
              <a:defRPr sz="1214"/>
            </a:lvl4pPr>
            <a:lvl5pPr>
              <a:defRPr sz="1214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1012171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5" y="1534566"/>
            <a:ext cx="5387077" cy="640599"/>
          </a:xfrm>
        </p:spPr>
        <p:txBody>
          <a:bodyPr anchor="b"/>
          <a:lstStyle>
            <a:lvl1pPr marL="0" indent="0">
              <a:buNone/>
              <a:defRPr sz="2071" b="1"/>
            </a:lvl1pPr>
            <a:lvl2pPr marL="400499" indent="0">
              <a:buNone/>
              <a:defRPr sz="1786" b="1"/>
            </a:lvl2pPr>
            <a:lvl3pPr marL="800998" indent="0">
              <a:buNone/>
              <a:defRPr sz="1571" b="1"/>
            </a:lvl3pPr>
            <a:lvl4pPr marL="1201497" indent="0">
              <a:buNone/>
              <a:defRPr sz="1429" b="1"/>
            </a:lvl4pPr>
            <a:lvl5pPr marL="1601995" indent="0">
              <a:buNone/>
              <a:defRPr sz="1429" b="1"/>
            </a:lvl5pPr>
            <a:lvl6pPr marL="2002495" indent="0">
              <a:buNone/>
              <a:defRPr sz="1429" b="1"/>
            </a:lvl6pPr>
            <a:lvl7pPr marL="2402992" indent="0">
              <a:buNone/>
              <a:defRPr sz="1429" b="1"/>
            </a:lvl7pPr>
            <a:lvl8pPr marL="2803490" indent="0">
              <a:buNone/>
              <a:defRPr sz="1429" b="1"/>
            </a:lvl8pPr>
            <a:lvl9pPr marL="3203987" indent="0">
              <a:buNone/>
              <a:defRPr sz="142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5" y="2175164"/>
            <a:ext cx="5387077" cy="3951555"/>
          </a:xfrm>
        </p:spPr>
        <p:txBody>
          <a:bodyPr/>
          <a:lstStyle>
            <a:lvl1pPr>
              <a:defRPr sz="2071"/>
            </a:lvl1pPr>
            <a:lvl2pPr>
              <a:defRPr sz="1786"/>
            </a:lvl2pPr>
            <a:lvl3pPr>
              <a:defRPr sz="1571"/>
            </a:lvl3pPr>
            <a:lvl4pPr>
              <a:defRPr sz="1429"/>
            </a:lvl4pPr>
            <a:lvl5pPr>
              <a:defRPr sz="1429"/>
            </a:lvl5pPr>
            <a:lvl6pPr>
              <a:defRPr sz="1429"/>
            </a:lvl6pPr>
            <a:lvl7pPr>
              <a:defRPr sz="1429"/>
            </a:lvl7pPr>
            <a:lvl8pPr>
              <a:defRPr sz="1429"/>
            </a:lvl8pPr>
            <a:lvl9pPr>
              <a:defRPr sz="14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7" y="1534566"/>
            <a:ext cx="5388889" cy="640599"/>
          </a:xfrm>
        </p:spPr>
        <p:txBody>
          <a:bodyPr anchor="b"/>
          <a:lstStyle>
            <a:lvl1pPr marL="0" indent="0">
              <a:buNone/>
              <a:defRPr sz="2071" b="1"/>
            </a:lvl1pPr>
            <a:lvl2pPr marL="400499" indent="0">
              <a:buNone/>
              <a:defRPr sz="1786" b="1"/>
            </a:lvl2pPr>
            <a:lvl3pPr marL="800998" indent="0">
              <a:buNone/>
              <a:defRPr sz="1571" b="1"/>
            </a:lvl3pPr>
            <a:lvl4pPr marL="1201497" indent="0">
              <a:buNone/>
              <a:defRPr sz="1429" b="1"/>
            </a:lvl4pPr>
            <a:lvl5pPr marL="1601995" indent="0">
              <a:buNone/>
              <a:defRPr sz="1429" b="1"/>
            </a:lvl5pPr>
            <a:lvl6pPr marL="2002495" indent="0">
              <a:buNone/>
              <a:defRPr sz="1429" b="1"/>
            </a:lvl6pPr>
            <a:lvl7pPr marL="2402992" indent="0">
              <a:buNone/>
              <a:defRPr sz="1429" b="1"/>
            </a:lvl7pPr>
            <a:lvl8pPr marL="2803490" indent="0">
              <a:buNone/>
              <a:defRPr sz="1429" b="1"/>
            </a:lvl8pPr>
            <a:lvl9pPr marL="3203987" indent="0">
              <a:buNone/>
              <a:defRPr sz="142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7" y="2175164"/>
            <a:ext cx="5388889" cy="3951555"/>
          </a:xfrm>
        </p:spPr>
        <p:txBody>
          <a:bodyPr/>
          <a:lstStyle>
            <a:lvl1pPr>
              <a:defRPr sz="2071"/>
            </a:lvl1pPr>
            <a:lvl2pPr>
              <a:defRPr sz="1786"/>
            </a:lvl2pPr>
            <a:lvl3pPr>
              <a:defRPr sz="1571"/>
            </a:lvl3pPr>
            <a:lvl4pPr>
              <a:defRPr sz="1429"/>
            </a:lvl4pPr>
            <a:lvl5pPr>
              <a:defRPr sz="1429"/>
            </a:lvl5pPr>
            <a:lvl6pPr>
              <a:defRPr sz="1429"/>
            </a:lvl6pPr>
            <a:lvl7pPr>
              <a:defRPr sz="1429"/>
            </a:lvl7pPr>
            <a:lvl8pPr>
              <a:defRPr sz="1429"/>
            </a:lvl8pPr>
            <a:lvl9pPr>
              <a:defRPr sz="14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36914461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0360244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37194309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19"/>
            <a:ext cx="4010883" cy="1161715"/>
          </a:xfrm>
        </p:spPr>
        <p:txBody>
          <a:bodyPr anchor="b"/>
          <a:lstStyle>
            <a:lvl1pPr algn="l">
              <a:defRPr sz="1786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92" y="273515"/>
            <a:ext cx="6815785" cy="5853196"/>
          </a:xfrm>
        </p:spPr>
        <p:txBody>
          <a:bodyPr/>
          <a:lstStyle>
            <a:lvl1pPr>
              <a:defRPr sz="2786"/>
            </a:lvl1pPr>
            <a:lvl2pPr>
              <a:defRPr sz="2500"/>
            </a:lvl2pPr>
            <a:lvl3pPr>
              <a:defRPr sz="2071"/>
            </a:lvl3pPr>
            <a:lvl4pPr>
              <a:defRPr sz="1786"/>
            </a:lvl4pPr>
            <a:lvl5pPr>
              <a:defRPr sz="17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28"/>
            <a:ext cx="4010883" cy="4691482"/>
          </a:xfrm>
        </p:spPr>
        <p:txBody>
          <a:bodyPr/>
          <a:lstStyle>
            <a:lvl1pPr marL="0" indent="0">
              <a:buNone/>
              <a:defRPr sz="1214"/>
            </a:lvl1pPr>
            <a:lvl2pPr marL="400499" indent="0">
              <a:buNone/>
              <a:defRPr sz="1071"/>
            </a:lvl2pPr>
            <a:lvl3pPr marL="800998" indent="0">
              <a:buNone/>
              <a:defRPr sz="929"/>
            </a:lvl3pPr>
            <a:lvl4pPr marL="1201497" indent="0">
              <a:buNone/>
              <a:defRPr sz="786"/>
            </a:lvl4pPr>
            <a:lvl5pPr marL="1601995" indent="0">
              <a:buNone/>
              <a:defRPr sz="786"/>
            </a:lvl5pPr>
            <a:lvl6pPr marL="2002495" indent="0">
              <a:buNone/>
              <a:defRPr sz="786"/>
            </a:lvl6pPr>
            <a:lvl7pPr marL="2402992" indent="0">
              <a:buNone/>
              <a:defRPr sz="786"/>
            </a:lvl7pPr>
            <a:lvl8pPr marL="2803490" indent="0">
              <a:buNone/>
              <a:defRPr sz="786"/>
            </a:lvl8pPr>
            <a:lvl9pPr marL="3203987" indent="0">
              <a:buNone/>
              <a:defRPr sz="78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06008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840157BC-9FCB-41A1-ACF3-DDDDEE1C0B8D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2768968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5" y="4800898"/>
            <a:ext cx="7315561" cy="565741"/>
          </a:xfrm>
        </p:spPr>
        <p:txBody>
          <a:bodyPr anchor="b"/>
          <a:lstStyle>
            <a:lvl1pPr algn="l">
              <a:defRPr sz="1786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5" y="613247"/>
            <a:ext cx="7315561" cy="4114224"/>
          </a:xfrm>
        </p:spPr>
        <p:txBody>
          <a:bodyPr/>
          <a:lstStyle>
            <a:lvl1pPr marL="0" indent="0">
              <a:buNone/>
              <a:defRPr sz="2786"/>
            </a:lvl1pPr>
            <a:lvl2pPr marL="400499" indent="0">
              <a:buNone/>
              <a:defRPr sz="2500"/>
            </a:lvl2pPr>
            <a:lvl3pPr marL="800998" indent="0">
              <a:buNone/>
              <a:defRPr sz="2071"/>
            </a:lvl3pPr>
            <a:lvl4pPr marL="1201497" indent="0">
              <a:buNone/>
              <a:defRPr sz="1786"/>
            </a:lvl4pPr>
            <a:lvl5pPr marL="1601995" indent="0">
              <a:buNone/>
              <a:defRPr sz="1786"/>
            </a:lvl5pPr>
            <a:lvl6pPr marL="2002495" indent="0">
              <a:buNone/>
              <a:defRPr sz="1786"/>
            </a:lvl6pPr>
            <a:lvl7pPr marL="2402992" indent="0">
              <a:buNone/>
              <a:defRPr sz="1786"/>
            </a:lvl7pPr>
            <a:lvl8pPr marL="2803490" indent="0">
              <a:buNone/>
              <a:defRPr sz="1786"/>
            </a:lvl8pPr>
            <a:lvl9pPr marL="3203987" indent="0">
              <a:buNone/>
              <a:defRPr sz="1786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5" y="5366630"/>
            <a:ext cx="7315561" cy="806146"/>
          </a:xfrm>
        </p:spPr>
        <p:txBody>
          <a:bodyPr/>
          <a:lstStyle>
            <a:lvl1pPr marL="0" indent="0">
              <a:buNone/>
              <a:defRPr sz="1214"/>
            </a:lvl1pPr>
            <a:lvl2pPr marL="400499" indent="0">
              <a:buNone/>
              <a:defRPr sz="1071"/>
            </a:lvl2pPr>
            <a:lvl3pPr marL="800998" indent="0">
              <a:buNone/>
              <a:defRPr sz="929"/>
            </a:lvl3pPr>
            <a:lvl4pPr marL="1201497" indent="0">
              <a:buNone/>
              <a:defRPr sz="786"/>
            </a:lvl4pPr>
            <a:lvl5pPr marL="1601995" indent="0">
              <a:buNone/>
              <a:defRPr sz="786"/>
            </a:lvl5pPr>
            <a:lvl6pPr marL="2002495" indent="0">
              <a:buNone/>
              <a:defRPr sz="786"/>
            </a:lvl6pPr>
            <a:lvl7pPr marL="2402992" indent="0">
              <a:buNone/>
              <a:defRPr sz="786"/>
            </a:lvl7pPr>
            <a:lvl8pPr marL="2803490" indent="0">
              <a:buNone/>
              <a:defRPr sz="786"/>
            </a:lvl8pPr>
            <a:lvl9pPr marL="3203987" indent="0">
              <a:buNone/>
              <a:defRPr sz="78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03636189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652812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2" y="274955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6" y="274955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651879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3214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19" y="1078312"/>
            <a:ext cx="11157084" cy="4179888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8632435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1755"/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681755"/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853547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7" y="4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6"/>
            <a:ext cx="10363108" cy="914111"/>
          </a:xfrm>
        </p:spPr>
        <p:txBody>
          <a:bodyPr anchor="t"/>
          <a:lstStyle>
            <a:lvl1pPr>
              <a:defRPr sz="4148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3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207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561877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600351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33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791"/>
            </a:lvl1pPr>
            <a:lvl2pPr marL="375589" indent="0">
              <a:buNone/>
              <a:defRPr sz="1508"/>
            </a:lvl2pPr>
            <a:lvl3pPr marL="751206" indent="0">
              <a:buNone/>
              <a:defRPr sz="1320"/>
            </a:lvl3pPr>
            <a:lvl4pPr marL="1126811" indent="0">
              <a:buNone/>
              <a:defRPr sz="1131"/>
            </a:lvl4pPr>
            <a:lvl5pPr marL="1502416" indent="0">
              <a:buNone/>
              <a:defRPr sz="1131"/>
            </a:lvl5pPr>
            <a:lvl6pPr marL="1878024" indent="0">
              <a:buNone/>
              <a:defRPr sz="1131"/>
            </a:lvl6pPr>
            <a:lvl7pPr marL="2253628" indent="0">
              <a:buNone/>
              <a:defRPr sz="1131"/>
            </a:lvl7pPr>
            <a:lvl8pPr marL="2629237" indent="0">
              <a:buNone/>
              <a:defRPr sz="1131"/>
            </a:lvl8pPr>
            <a:lvl9pPr marL="3004842" indent="0">
              <a:buNone/>
              <a:defRPr sz="113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54607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3"/>
            <a:ext cx="539794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3"/>
            <a:ext cx="539975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825406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9" y="1534560"/>
            <a:ext cx="538707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9" y="2175207"/>
            <a:ext cx="538707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8" y="1534560"/>
            <a:ext cx="538888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8" y="2175207"/>
            <a:ext cx="538888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8524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6" y="273516"/>
            <a:ext cx="6815785" cy="5853196"/>
          </a:xfrm>
        </p:spPr>
        <p:txBody>
          <a:bodyPr/>
          <a:lstStyle>
            <a:lvl1pPr>
              <a:defRPr sz="2640"/>
            </a:lvl1pPr>
            <a:lvl2pPr>
              <a:defRPr sz="2452"/>
            </a:lvl2pPr>
            <a:lvl3pPr>
              <a:defRPr sz="1980"/>
            </a:lvl3pPr>
            <a:lvl4pPr>
              <a:defRPr sz="1791"/>
            </a:lvl4pPr>
            <a:lvl5pPr>
              <a:defRPr sz="1791"/>
            </a:lvl5pPr>
            <a:lvl6pPr>
              <a:defRPr sz="1791"/>
            </a:lvl6pPr>
            <a:lvl7pPr>
              <a:defRPr sz="1791"/>
            </a:lvl7pPr>
            <a:lvl8pPr>
              <a:defRPr sz="1791"/>
            </a:lvl8pPr>
            <a:lvl9pPr>
              <a:defRPr sz="17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6672676A-05E1-4021-90B8-9D82FBCADC7F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79003871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686372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91057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6" y="273516"/>
            <a:ext cx="6815785" cy="5853196"/>
          </a:xfrm>
        </p:spPr>
        <p:txBody>
          <a:bodyPr/>
          <a:lstStyle>
            <a:lvl1pPr>
              <a:defRPr sz="2640"/>
            </a:lvl1pPr>
            <a:lvl2pPr>
              <a:defRPr sz="2452"/>
            </a:lvl2pPr>
            <a:lvl3pPr>
              <a:defRPr sz="1980"/>
            </a:lvl3pPr>
            <a:lvl4pPr>
              <a:defRPr sz="1791"/>
            </a:lvl4pPr>
            <a:lvl5pPr>
              <a:defRPr sz="1791"/>
            </a:lvl5pPr>
            <a:lvl6pPr>
              <a:defRPr sz="1791"/>
            </a:lvl6pPr>
            <a:lvl7pPr>
              <a:defRPr sz="1791"/>
            </a:lvl7pPr>
            <a:lvl8pPr>
              <a:defRPr sz="1791"/>
            </a:lvl8pPr>
            <a:lvl9pPr>
              <a:defRPr sz="17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220672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1" y="4800938"/>
            <a:ext cx="7315561" cy="565741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1" y="613247"/>
            <a:ext cx="7315561" cy="4114224"/>
          </a:xfrm>
        </p:spPr>
        <p:txBody>
          <a:bodyPr/>
          <a:lstStyle>
            <a:lvl1pPr marL="0" indent="0">
              <a:buNone/>
              <a:defRPr sz="2640"/>
            </a:lvl1pPr>
            <a:lvl2pPr marL="375589" indent="0">
              <a:buNone/>
              <a:defRPr sz="2452"/>
            </a:lvl2pPr>
            <a:lvl3pPr marL="751206" indent="0">
              <a:buNone/>
              <a:defRPr sz="1980"/>
            </a:lvl3pPr>
            <a:lvl4pPr marL="1126811" indent="0">
              <a:buNone/>
              <a:defRPr sz="1791"/>
            </a:lvl4pPr>
            <a:lvl5pPr marL="1502416" indent="0">
              <a:buNone/>
              <a:defRPr sz="1791"/>
            </a:lvl5pPr>
            <a:lvl6pPr marL="1878024" indent="0">
              <a:buNone/>
              <a:defRPr sz="1791"/>
            </a:lvl6pPr>
            <a:lvl7pPr marL="2253628" indent="0">
              <a:buNone/>
              <a:defRPr sz="1791"/>
            </a:lvl7pPr>
            <a:lvl8pPr marL="2629237" indent="0">
              <a:buNone/>
              <a:defRPr sz="1791"/>
            </a:lvl8pPr>
            <a:lvl9pPr marL="3004842" indent="0">
              <a:buNone/>
              <a:defRPr sz="1791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1" y="5366631"/>
            <a:ext cx="7315561" cy="806146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10104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938634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2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2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04660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923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5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02118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5" y="6245225"/>
            <a:ext cx="2844801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8569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791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5" y="6245225"/>
            <a:ext cx="3860800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8569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791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0B953-DB9E-429E-A914-90D8BCF4254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43130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" y="4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9" y="2057116"/>
            <a:ext cx="10363108" cy="914111"/>
          </a:xfrm>
        </p:spPr>
        <p:txBody>
          <a:bodyPr anchor="t"/>
          <a:lstStyle>
            <a:lvl1pPr>
              <a:defRPr sz="3910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4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1956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911124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3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51198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1" y="4800938"/>
            <a:ext cx="7315561" cy="565741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1" y="613247"/>
            <a:ext cx="7315561" cy="4114224"/>
          </a:xfrm>
        </p:spPr>
        <p:txBody>
          <a:bodyPr/>
          <a:lstStyle>
            <a:lvl1pPr marL="0" indent="0">
              <a:buNone/>
              <a:defRPr sz="2640"/>
            </a:lvl1pPr>
            <a:lvl2pPr marL="375589" indent="0">
              <a:buNone/>
              <a:defRPr sz="2452"/>
            </a:lvl2pPr>
            <a:lvl3pPr marL="751206" indent="0">
              <a:buNone/>
              <a:defRPr sz="1980"/>
            </a:lvl3pPr>
            <a:lvl4pPr marL="1126811" indent="0">
              <a:buNone/>
              <a:defRPr sz="1791"/>
            </a:lvl4pPr>
            <a:lvl5pPr marL="1502416" indent="0">
              <a:buNone/>
              <a:defRPr sz="1791"/>
            </a:lvl5pPr>
            <a:lvl6pPr marL="1878024" indent="0">
              <a:buNone/>
              <a:defRPr sz="1791"/>
            </a:lvl6pPr>
            <a:lvl7pPr marL="2253628" indent="0">
              <a:buNone/>
              <a:defRPr sz="1791"/>
            </a:lvl7pPr>
            <a:lvl8pPr marL="2629237" indent="0">
              <a:buNone/>
              <a:defRPr sz="1791"/>
            </a:lvl8pPr>
            <a:lvl9pPr marL="3004842" indent="0">
              <a:buNone/>
              <a:defRPr sz="1791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1" y="5366631"/>
            <a:ext cx="7315561" cy="806146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2E045CB-C504-44A0-BEFF-7EA220CE8328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8641573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3111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689"/>
            </a:lvl1pPr>
            <a:lvl2pPr marL="354086" indent="0">
              <a:buNone/>
              <a:defRPr sz="1422"/>
            </a:lvl2pPr>
            <a:lvl3pPr marL="708198" indent="0">
              <a:buNone/>
              <a:defRPr sz="1244"/>
            </a:lvl3pPr>
            <a:lvl4pPr marL="1062298" indent="0">
              <a:buNone/>
              <a:defRPr sz="1066"/>
            </a:lvl4pPr>
            <a:lvl5pPr marL="1416400" indent="0">
              <a:buNone/>
              <a:defRPr sz="1066"/>
            </a:lvl5pPr>
            <a:lvl6pPr marL="1770503" indent="0">
              <a:buNone/>
              <a:defRPr sz="1066"/>
            </a:lvl6pPr>
            <a:lvl7pPr marL="2124603" indent="0">
              <a:buNone/>
              <a:defRPr sz="1066"/>
            </a:lvl7pPr>
            <a:lvl8pPr marL="2478707" indent="0">
              <a:buNone/>
              <a:defRPr sz="1066"/>
            </a:lvl8pPr>
            <a:lvl9pPr marL="2832808" indent="0">
              <a:buNone/>
              <a:defRPr sz="106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693474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4"/>
            <a:ext cx="5397943" cy="4048005"/>
          </a:xfrm>
        </p:spPr>
        <p:txBody>
          <a:bodyPr/>
          <a:lstStyle>
            <a:lvl1pPr>
              <a:defRPr sz="1066"/>
            </a:lvl1pPr>
            <a:lvl2pPr>
              <a:defRPr sz="1066"/>
            </a:lvl2pPr>
            <a:lvl3pPr>
              <a:defRPr sz="1066"/>
            </a:lvl3pPr>
            <a:lvl4pPr>
              <a:defRPr sz="1066"/>
            </a:lvl4pPr>
            <a:lvl5pPr>
              <a:defRPr sz="1066"/>
            </a:lvl5pPr>
            <a:lvl6pPr>
              <a:defRPr sz="1422"/>
            </a:lvl6pPr>
            <a:lvl7pPr>
              <a:defRPr sz="1422"/>
            </a:lvl7pPr>
            <a:lvl8pPr>
              <a:defRPr sz="1422"/>
            </a:lvl8pPr>
            <a:lvl9pPr>
              <a:defRPr sz="142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4"/>
            <a:ext cx="5399753" cy="4048005"/>
          </a:xfrm>
        </p:spPr>
        <p:txBody>
          <a:bodyPr/>
          <a:lstStyle>
            <a:lvl1pPr>
              <a:defRPr sz="1066"/>
            </a:lvl1pPr>
            <a:lvl2pPr>
              <a:defRPr sz="1066"/>
            </a:lvl2pPr>
            <a:lvl3pPr>
              <a:defRPr sz="1066"/>
            </a:lvl3pPr>
            <a:lvl4pPr>
              <a:defRPr sz="1066"/>
            </a:lvl4pPr>
            <a:lvl5pPr>
              <a:defRPr sz="1066"/>
            </a:lvl5pPr>
            <a:lvl6pPr>
              <a:defRPr sz="1422"/>
            </a:lvl6pPr>
            <a:lvl7pPr>
              <a:defRPr sz="1422"/>
            </a:lvl7pPr>
            <a:lvl8pPr>
              <a:defRPr sz="1422"/>
            </a:lvl8pPr>
            <a:lvl9pPr>
              <a:defRPr sz="142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611402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41" y="1534560"/>
            <a:ext cx="5387079" cy="640599"/>
          </a:xfrm>
        </p:spPr>
        <p:txBody>
          <a:bodyPr anchor="b"/>
          <a:lstStyle>
            <a:lvl1pPr marL="0" indent="0">
              <a:buNone/>
              <a:defRPr sz="1867" b="1"/>
            </a:lvl1pPr>
            <a:lvl2pPr marL="354086" indent="0">
              <a:buNone/>
              <a:defRPr sz="1689" b="1"/>
            </a:lvl2pPr>
            <a:lvl3pPr marL="708198" indent="0">
              <a:buNone/>
              <a:defRPr sz="1422" b="1"/>
            </a:lvl3pPr>
            <a:lvl4pPr marL="1062298" indent="0">
              <a:buNone/>
              <a:defRPr sz="1244" b="1"/>
            </a:lvl4pPr>
            <a:lvl5pPr marL="1416400" indent="0">
              <a:buNone/>
              <a:defRPr sz="1244" b="1"/>
            </a:lvl5pPr>
            <a:lvl6pPr marL="1770503" indent="0">
              <a:buNone/>
              <a:defRPr sz="1244" b="1"/>
            </a:lvl6pPr>
            <a:lvl7pPr marL="2124603" indent="0">
              <a:buNone/>
              <a:defRPr sz="1244" b="1"/>
            </a:lvl7pPr>
            <a:lvl8pPr marL="2478707" indent="0">
              <a:buNone/>
              <a:defRPr sz="1244" b="1"/>
            </a:lvl8pPr>
            <a:lvl9pPr marL="2832808" indent="0">
              <a:buNone/>
              <a:defRPr sz="12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41" y="2175208"/>
            <a:ext cx="5387079" cy="3951555"/>
          </a:xfrm>
        </p:spPr>
        <p:txBody>
          <a:bodyPr/>
          <a:lstStyle>
            <a:lvl1pPr>
              <a:defRPr sz="1867"/>
            </a:lvl1pPr>
            <a:lvl2pPr>
              <a:defRPr sz="1689"/>
            </a:lvl2pPr>
            <a:lvl3pPr>
              <a:defRPr sz="1422"/>
            </a:lvl3pPr>
            <a:lvl4pPr>
              <a:defRPr sz="1244"/>
            </a:lvl4pPr>
            <a:lvl5pPr>
              <a:defRPr sz="1244"/>
            </a:lvl5pPr>
            <a:lvl6pPr>
              <a:defRPr sz="1244"/>
            </a:lvl6pPr>
            <a:lvl7pPr>
              <a:defRPr sz="1244"/>
            </a:lvl7pPr>
            <a:lvl8pPr>
              <a:defRPr sz="1244"/>
            </a:lvl8pPr>
            <a:lvl9pPr>
              <a:defRPr sz="124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80" y="1534560"/>
            <a:ext cx="5388889" cy="640599"/>
          </a:xfrm>
        </p:spPr>
        <p:txBody>
          <a:bodyPr anchor="b"/>
          <a:lstStyle>
            <a:lvl1pPr marL="0" indent="0">
              <a:buNone/>
              <a:defRPr sz="1867" b="1"/>
            </a:lvl1pPr>
            <a:lvl2pPr marL="354086" indent="0">
              <a:buNone/>
              <a:defRPr sz="1689" b="1"/>
            </a:lvl2pPr>
            <a:lvl3pPr marL="708198" indent="0">
              <a:buNone/>
              <a:defRPr sz="1422" b="1"/>
            </a:lvl3pPr>
            <a:lvl4pPr marL="1062298" indent="0">
              <a:buNone/>
              <a:defRPr sz="1244" b="1"/>
            </a:lvl4pPr>
            <a:lvl5pPr marL="1416400" indent="0">
              <a:buNone/>
              <a:defRPr sz="1244" b="1"/>
            </a:lvl5pPr>
            <a:lvl6pPr marL="1770503" indent="0">
              <a:buNone/>
              <a:defRPr sz="1244" b="1"/>
            </a:lvl6pPr>
            <a:lvl7pPr marL="2124603" indent="0">
              <a:buNone/>
              <a:defRPr sz="1244" b="1"/>
            </a:lvl7pPr>
            <a:lvl8pPr marL="2478707" indent="0">
              <a:buNone/>
              <a:defRPr sz="1244" b="1"/>
            </a:lvl8pPr>
            <a:lvl9pPr marL="2832808" indent="0">
              <a:buNone/>
              <a:defRPr sz="12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80" y="2175208"/>
            <a:ext cx="5388889" cy="3951555"/>
          </a:xfrm>
        </p:spPr>
        <p:txBody>
          <a:bodyPr/>
          <a:lstStyle>
            <a:lvl1pPr>
              <a:defRPr sz="1867"/>
            </a:lvl1pPr>
            <a:lvl2pPr>
              <a:defRPr sz="1689"/>
            </a:lvl2pPr>
            <a:lvl3pPr>
              <a:defRPr sz="1422"/>
            </a:lvl3pPr>
            <a:lvl4pPr>
              <a:defRPr sz="1244"/>
            </a:lvl4pPr>
            <a:lvl5pPr>
              <a:defRPr sz="1244"/>
            </a:lvl5pPr>
            <a:lvl6pPr>
              <a:defRPr sz="1244"/>
            </a:lvl6pPr>
            <a:lvl7pPr>
              <a:defRPr sz="1244"/>
            </a:lvl7pPr>
            <a:lvl8pPr>
              <a:defRPr sz="1244"/>
            </a:lvl8pPr>
            <a:lvl9pPr>
              <a:defRPr sz="124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41073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903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211246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689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8" y="273516"/>
            <a:ext cx="6815785" cy="5853196"/>
          </a:xfrm>
        </p:spPr>
        <p:txBody>
          <a:bodyPr/>
          <a:lstStyle>
            <a:lvl1pPr>
              <a:defRPr sz="2489"/>
            </a:lvl1pPr>
            <a:lvl2pPr>
              <a:defRPr sz="2311"/>
            </a:lvl2pPr>
            <a:lvl3pPr>
              <a:defRPr sz="1867"/>
            </a:lvl3pPr>
            <a:lvl4pPr>
              <a:defRPr sz="1689"/>
            </a:lvl4pPr>
            <a:lvl5pPr>
              <a:defRPr sz="1689"/>
            </a:lvl5pPr>
            <a:lvl6pPr>
              <a:defRPr sz="1689"/>
            </a:lvl6pPr>
            <a:lvl7pPr>
              <a:defRPr sz="1689"/>
            </a:lvl7pPr>
            <a:lvl8pPr>
              <a:defRPr sz="1689"/>
            </a:lvl8pPr>
            <a:lvl9pPr>
              <a:defRPr sz="168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066"/>
            </a:lvl1pPr>
            <a:lvl2pPr marL="354086" indent="0">
              <a:buNone/>
              <a:defRPr sz="977"/>
            </a:lvl2pPr>
            <a:lvl3pPr marL="708198" indent="0">
              <a:buNone/>
              <a:defRPr sz="800"/>
            </a:lvl3pPr>
            <a:lvl4pPr marL="1062298" indent="0">
              <a:buNone/>
              <a:defRPr sz="711"/>
            </a:lvl4pPr>
            <a:lvl5pPr marL="1416400" indent="0">
              <a:buNone/>
              <a:defRPr sz="711"/>
            </a:lvl5pPr>
            <a:lvl6pPr marL="1770503" indent="0">
              <a:buNone/>
              <a:defRPr sz="711"/>
            </a:lvl6pPr>
            <a:lvl7pPr marL="2124603" indent="0">
              <a:buNone/>
              <a:defRPr sz="711"/>
            </a:lvl7pPr>
            <a:lvl8pPr marL="2478707" indent="0">
              <a:buNone/>
              <a:defRPr sz="711"/>
            </a:lvl8pPr>
            <a:lvl9pPr marL="2832808" indent="0">
              <a:buNone/>
              <a:defRPr sz="71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857256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2" y="4800938"/>
            <a:ext cx="7315561" cy="565741"/>
          </a:xfrm>
        </p:spPr>
        <p:txBody>
          <a:bodyPr anchor="b"/>
          <a:lstStyle>
            <a:lvl1pPr algn="l">
              <a:defRPr sz="1689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2" y="613247"/>
            <a:ext cx="7315561" cy="4114224"/>
          </a:xfrm>
        </p:spPr>
        <p:txBody>
          <a:bodyPr/>
          <a:lstStyle>
            <a:lvl1pPr marL="0" indent="0">
              <a:buNone/>
              <a:defRPr sz="2489"/>
            </a:lvl1pPr>
            <a:lvl2pPr marL="354086" indent="0">
              <a:buNone/>
              <a:defRPr sz="2311"/>
            </a:lvl2pPr>
            <a:lvl3pPr marL="708198" indent="0">
              <a:buNone/>
              <a:defRPr sz="1867"/>
            </a:lvl3pPr>
            <a:lvl4pPr marL="1062298" indent="0">
              <a:buNone/>
              <a:defRPr sz="1689"/>
            </a:lvl4pPr>
            <a:lvl5pPr marL="1416400" indent="0">
              <a:buNone/>
              <a:defRPr sz="1689"/>
            </a:lvl5pPr>
            <a:lvl6pPr marL="1770503" indent="0">
              <a:buNone/>
              <a:defRPr sz="1689"/>
            </a:lvl6pPr>
            <a:lvl7pPr marL="2124603" indent="0">
              <a:buNone/>
              <a:defRPr sz="1689"/>
            </a:lvl7pPr>
            <a:lvl8pPr marL="2478707" indent="0">
              <a:buNone/>
              <a:defRPr sz="1689"/>
            </a:lvl8pPr>
            <a:lvl9pPr marL="2832808" indent="0">
              <a:buNone/>
              <a:defRPr sz="1689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2" y="5366632"/>
            <a:ext cx="7315561" cy="806146"/>
          </a:xfrm>
        </p:spPr>
        <p:txBody>
          <a:bodyPr/>
          <a:lstStyle>
            <a:lvl1pPr marL="0" indent="0">
              <a:buNone/>
              <a:defRPr sz="1066"/>
            </a:lvl1pPr>
            <a:lvl2pPr marL="354086" indent="0">
              <a:buNone/>
              <a:defRPr sz="977"/>
            </a:lvl2pPr>
            <a:lvl3pPr marL="708198" indent="0">
              <a:buNone/>
              <a:defRPr sz="800"/>
            </a:lvl3pPr>
            <a:lvl4pPr marL="1062298" indent="0">
              <a:buNone/>
              <a:defRPr sz="711"/>
            </a:lvl4pPr>
            <a:lvl5pPr marL="1416400" indent="0">
              <a:buNone/>
              <a:defRPr sz="711"/>
            </a:lvl5pPr>
            <a:lvl6pPr marL="1770503" indent="0">
              <a:buNone/>
              <a:defRPr sz="711"/>
            </a:lvl6pPr>
            <a:lvl7pPr marL="2124603" indent="0">
              <a:buNone/>
              <a:defRPr sz="711"/>
            </a:lvl7pPr>
            <a:lvl8pPr marL="2478707" indent="0">
              <a:buNone/>
              <a:defRPr sz="711"/>
            </a:lvl8pPr>
            <a:lvl9pPr marL="2832808" indent="0">
              <a:buNone/>
              <a:defRPr sz="71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553941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892716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3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3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03844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756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6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87332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31.xml"/><Relationship Id="rId21" Type="http://schemas.openxmlformats.org/officeDocument/2006/relationships/vmlDrawing" Target="../drawings/vmlDrawing50.v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oleObject" Target="../embeddings/oleObject50.bin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tags" Target="../tags/tag5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7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6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19" Type="http://schemas.openxmlformats.org/officeDocument/2006/relationships/oleObject" Target="../embeddings/oleObject16.bin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ags" Target="../tags/tag32.xml"/><Relationship Id="rId2" Type="http://schemas.openxmlformats.org/officeDocument/2006/relationships/slideLayout" Target="../slideLayouts/slideLayout30.xml"/><Relationship Id="rId16" Type="http://schemas.openxmlformats.org/officeDocument/2006/relationships/vmlDrawing" Target="../drawings/vmlDrawing3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8.xml"/><Relationship Id="rId19" Type="http://schemas.openxmlformats.org/officeDocument/2006/relationships/oleObject" Target="../embeddings/oleObject31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21" Type="http://schemas.openxmlformats.org/officeDocument/2006/relationships/image" Target="../media/image4.wmf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oleObject" Target="../embeddings/oleObject46.bin"/><Relationship Id="rId2" Type="http://schemas.openxmlformats.org/officeDocument/2006/relationships/slideLayout" Target="../slideLayouts/slideLayout76.xml"/><Relationship Id="rId16" Type="http://schemas.openxmlformats.org/officeDocument/2006/relationships/tags" Target="../tags/tag47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vmlDrawing" Target="../drawings/vmlDrawing46.vml"/><Relationship Id="rId10" Type="http://schemas.openxmlformats.org/officeDocument/2006/relationships/slideLayout" Target="../slideLayouts/slideLayout84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oleObject" Target="../embeddings/oleObject47.bin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ags" Target="../tags/tag48.xml"/><Relationship Id="rId2" Type="http://schemas.openxmlformats.org/officeDocument/2006/relationships/slideLayout" Target="../slideLayouts/slideLayout89.xml"/><Relationship Id="rId16" Type="http://schemas.openxmlformats.org/officeDocument/2006/relationships/vmlDrawing" Target="../drawings/vmlDrawing47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oleObject" Target="../embeddings/oleObject48.bin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tags" Target="../tags/tag49.xml"/><Relationship Id="rId2" Type="http://schemas.openxmlformats.org/officeDocument/2006/relationships/slideLayout" Target="../slideLayouts/slideLayout103.xml"/><Relationship Id="rId16" Type="http://schemas.openxmlformats.org/officeDocument/2006/relationships/vmlDrawing" Target="../drawings/vmlDrawing48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1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oleObject" Target="../embeddings/oleObject49.bin"/><Relationship Id="rId2" Type="http://schemas.openxmlformats.org/officeDocument/2006/relationships/slideLayout" Target="../slideLayouts/slideLayout117.xml"/><Relationship Id="rId16" Type="http://schemas.openxmlformats.org/officeDocument/2006/relationships/tags" Target="../tags/tag50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vmlDrawing" Target="../drawings/vmlDrawing49.vml"/><Relationship Id="rId10" Type="http://schemas.openxmlformats.org/officeDocument/2006/relationships/slideLayout" Target="../slideLayouts/slideLayout125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Template landscape shadow_5_Page_5.jp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27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102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-31750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143001"/>
            <a:ext cx="10972800" cy="404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215967" y="6461125"/>
            <a:ext cx="2743200" cy="3635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891917" eaLnBrk="1" fontAlgn="auto" hangingPunct="1">
              <a:spcBef>
                <a:spcPts val="0"/>
              </a:spcBef>
              <a:spcAft>
                <a:spcPts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DD077F9A-4074-4D40-9F91-027CB86E8258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99" r:id="rId1"/>
    <p:sldLayoutId id="2147484600" r:id="rId2"/>
    <p:sldLayoutId id="2147484601" r:id="rId3"/>
    <p:sldLayoutId id="2147484602" r:id="rId4"/>
    <p:sldLayoutId id="2147484603" r:id="rId5"/>
    <p:sldLayoutId id="2147484604" r:id="rId6"/>
    <p:sldLayoutId id="2147484605" r:id="rId7"/>
    <p:sldLayoutId id="2147484606" r:id="rId8"/>
    <p:sldLayoutId id="2147484607" r:id="rId9"/>
    <p:sldLayoutId id="2147484608" r:id="rId10"/>
    <p:sldLayoutId id="2147484609" r:id="rId11"/>
    <p:sldLayoutId id="2147484610" r:id="rId12"/>
    <p:sldLayoutId id="2147484611" r:id="rId13"/>
    <p:sldLayoutId id="2147484612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5pPr>
      <a:lvl6pPr marL="375635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75130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12695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502604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80988" indent="-280988" algn="l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09600" indent="-23336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938213" indent="-187325" algn="l" rtl="0" eaLnBrk="0" fontAlgn="base" hangingPunct="0">
        <a:spcBef>
          <a:spcPct val="20000"/>
        </a:spcBef>
        <a:spcAft>
          <a:spcPct val="0"/>
        </a:spcAft>
        <a:buChar char="•"/>
        <a:defRPr sz="1900">
          <a:solidFill>
            <a:schemeClr val="tx1"/>
          </a:solidFill>
          <a:latin typeface="+mn-lt"/>
        </a:defRPr>
      </a:lvl3pPr>
      <a:lvl4pPr marL="1314450" indent="-187325" algn="l" rtl="0" eaLnBrk="0" fontAlgn="base" hangingPunct="0">
        <a:spcBef>
          <a:spcPct val="20000"/>
        </a:spcBef>
        <a:spcAft>
          <a:spcPct val="0"/>
        </a:spcAft>
        <a:buChar char="–"/>
        <a:defRPr sz="1700">
          <a:solidFill>
            <a:schemeClr val="tx1"/>
          </a:solidFill>
          <a:latin typeface="+mn-lt"/>
        </a:defRPr>
      </a:lvl4pPr>
      <a:lvl5pPr marL="1689100" indent="-187325" algn="l" rtl="0" eaLnBrk="0" fontAlgn="base" hangingPunct="0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5pPr>
      <a:lvl6pPr marL="2066087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6pPr>
      <a:lvl7pPr marL="24417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7pPr>
      <a:lvl8pPr marL="2817394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8pPr>
      <a:lvl9pPr marL="31930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1pPr>
      <a:lvl2pPr marL="375635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75130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3pPr>
      <a:lvl4pPr marL="112695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4pPr>
      <a:lvl5pPr marL="150260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5pPr>
      <a:lvl6pPr marL="187825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6pPr>
      <a:lvl7pPr marL="225390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7pPr>
      <a:lvl8pPr marL="2629563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8pPr>
      <a:lvl9pPr marL="300521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4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99" y="1143613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5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49" y="25639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681755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68175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4728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0" r:id="rId1"/>
    <p:sldLayoutId id="2147484821" r:id="rId2"/>
    <p:sldLayoutId id="2147484822" r:id="rId3"/>
    <p:sldLayoutId id="2147484823" r:id="rId4"/>
    <p:sldLayoutId id="2147484824" r:id="rId5"/>
    <p:sldLayoutId id="2147484825" r:id="rId6"/>
    <p:sldLayoutId id="2147484826" r:id="rId7"/>
    <p:sldLayoutId id="2147484827" r:id="rId8"/>
    <p:sldLayoutId id="2147484828" r:id="rId9"/>
    <p:sldLayoutId id="2147484829" r:id="rId10"/>
    <p:sldLayoutId id="2147484830" r:id="rId11"/>
    <p:sldLayoutId id="2147484831" r:id="rId12"/>
    <p:sldLayoutId id="2147484832" r:id="rId13"/>
    <p:sldLayoutId id="2147484833" r:id="rId14"/>
    <p:sldLayoutId id="2147484834" r:id="rId15"/>
    <p:sldLayoutId id="2147484835" r:id="rId16"/>
    <p:sldLayoutId id="2147484836" r:id="rId17"/>
    <p:sldLayoutId id="2147484837" r:id="rId18"/>
    <p:sldLayoutId id="2147484838" r:id="rId19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298835"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597695"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896542"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195392"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24138" indent="-224138" algn="l" rtl="0" eaLnBrk="1" fontAlgn="base" hangingPunct="1">
        <a:spcBef>
          <a:spcPct val="2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85628" indent="-186782" algn="l" rtl="0" eaLnBrk="1" fontAlgn="base" hangingPunct="1">
        <a:spcBef>
          <a:spcPct val="20000"/>
        </a:spcBef>
        <a:spcAft>
          <a:spcPct val="0"/>
        </a:spcAft>
        <a:buChar char="–"/>
        <a:defRPr sz="1950">
          <a:solidFill>
            <a:schemeClr val="tx1"/>
          </a:solidFill>
          <a:latin typeface="+mn-lt"/>
        </a:defRPr>
      </a:lvl2pPr>
      <a:lvl3pPr marL="747122" indent="-149418" algn="l" rtl="0" eaLnBrk="1" fontAlgn="base" hangingPunct="1">
        <a:spcBef>
          <a:spcPct val="20000"/>
        </a:spcBef>
        <a:spcAft>
          <a:spcPct val="0"/>
        </a:spcAft>
        <a:buChar char="•"/>
        <a:defRPr sz="1575">
          <a:solidFill>
            <a:schemeClr val="tx1"/>
          </a:solidFill>
          <a:latin typeface="+mn-lt"/>
        </a:defRPr>
      </a:lvl3pPr>
      <a:lvl4pPr marL="1045973" indent="-149418" algn="l" rtl="0" eaLnBrk="1" fontAlgn="base" hangingPunct="1">
        <a:spcBef>
          <a:spcPct val="20000"/>
        </a:spcBef>
        <a:spcAft>
          <a:spcPct val="0"/>
        </a:spcAft>
        <a:buChar char="–"/>
        <a:defRPr sz="1425">
          <a:solidFill>
            <a:schemeClr val="tx1"/>
          </a:solidFill>
          <a:latin typeface="+mn-lt"/>
        </a:defRPr>
      </a:lvl4pPr>
      <a:lvl5pPr marL="1344818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5pPr>
      <a:lvl6pPr marL="1643669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6pPr>
      <a:lvl7pPr marL="1942518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7pPr>
      <a:lvl8pPr marL="2241369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8pPr>
      <a:lvl9pPr marL="2540213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98835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97695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96542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95392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494242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793089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091941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390789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46" y="-31737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46" y="1143617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5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44" y="25639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214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913648"/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913648"/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61835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1" r:id="rId1"/>
    <p:sldLayoutId id="2147484842" r:id="rId2"/>
    <p:sldLayoutId id="2147484843" r:id="rId3"/>
    <p:sldLayoutId id="2147484844" r:id="rId4"/>
    <p:sldLayoutId id="2147484845" r:id="rId5"/>
    <p:sldLayoutId id="2147484846" r:id="rId6"/>
    <p:sldLayoutId id="2147484847" r:id="rId7"/>
    <p:sldLayoutId id="2147484848" r:id="rId8"/>
    <p:sldLayoutId id="2147484849" r:id="rId9"/>
    <p:sldLayoutId id="2147484850" r:id="rId10"/>
    <p:sldLayoutId id="2147484851" r:id="rId11"/>
    <p:sldLayoutId id="2147484852" r:id="rId12"/>
    <p:sldLayoutId id="2147484853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400499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800998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201497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601995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300374" indent="-300374" algn="l" rtl="0" fontAlgn="base">
        <a:spcBef>
          <a:spcPct val="20000"/>
        </a:spcBef>
        <a:spcAft>
          <a:spcPct val="0"/>
        </a:spcAft>
        <a:buChar char="•"/>
        <a:defRPr sz="2786">
          <a:solidFill>
            <a:schemeClr val="tx1"/>
          </a:solidFill>
          <a:latin typeface="+mn-lt"/>
          <a:ea typeface="+mn-ea"/>
          <a:cs typeface="+mn-cs"/>
        </a:defRPr>
      </a:lvl1pPr>
      <a:lvl2pPr marL="650811" indent="-250312" algn="l" rtl="0" fontAlgn="base">
        <a:spcBef>
          <a:spcPct val="20000"/>
        </a:spcBef>
        <a:spcAft>
          <a:spcPct val="0"/>
        </a:spcAft>
        <a:buChar char="–"/>
        <a:defRPr sz="2500">
          <a:solidFill>
            <a:schemeClr val="tx1"/>
          </a:solidFill>
          <a:latin typeface="+mn-lt"/>
        </a:defRPr>
      </a:lvl2pPr>
      <a:lvl3pPr marL="1001248" indent="-200250" algn="l" rtl="0" fontAlgn="base">
        <a:spcBef>
          <a:spcPct val="20000"/>
        </a:spcBef>
        <a:spcAft>
          <a:spcPct val="0"/>
        </a:spcAft>
        <a:buChar char="•"/>
        <a:defRPr sz="2071">
          <a:solidFill>
            <a:schemeClr val="tx1"/>
          </a:solidFill>
          <a:latin typeface="+mn-lt"/>
        </a:defRPr>
      </a:lvl3pPr>
      <a:lvl4pPr marL="1401745" indent="-200250" algn="l" rtl="0" fontAlgn="base">
        <a:spcBef>
          <a:spcPct val="20000"/>
        </a:spcBef>
        <a:spcAft>
          <a:spcPct val="0"/>
        </a:spcAft>
        <a:buChar char="–"/>
        <a:defRPr sz="1786">
          <a:solidFill>
            <a:schemeClr val="tx1"/>
          </a:solidFill>
          <a:latin typeface="+mn-lt"/>
        </a:defRPr>
      </a:lvl4pPr>
      <a:lvl5pPr marL="1802243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5pPr>
      <a:lvl6pPr marL="2202740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6pPr>
      <a:lvl7pPr marL="2603242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7pPr>
      <a:lvl8pPr marL="3003744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8pPr>
      <a:lvl9pPr marL="3404239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1pPr>
      <a:lvl2pPr marL="400499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2pPr>
      <a:lvl3pPr marL="800998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3pPr>
      <a:lvl4pPr marL="1201497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4pPr>
      <a:lvl5pPr marL="1601995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5pPr>
      <a:lvl6pPr marL="2002495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6pPr>
      <a:lvl7pPr marL="2402992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7pPr>
      <a:lvl8pPr marL="2803490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8pPr>
      <a:lvl9pPr marL="3203987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7" descr="Template landscape shadow_5_Page_5.jp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51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1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2051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-31750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143001"/>
            <a:ext cx="10972800" cy="404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215967" y="6461125"/>
            <a:ext cx="2743200" cy="3635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891917" eaLnBrk="1" fontAlgn="auto" hangingPunct="1">
              <a:spcBef>
                <a:spcPts val="0"/>
              </a:spcBef>
              <a:spcAft>
                <a:spcPts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7A2141F6-2EC7-4B5B-BAE8-81788BE98E72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13" r:id="rId1"/>
    <p:sldLayoutId id="2147484614" r:id="rId2"/>
    <p:sldLayoutId id="2147484615" r:id="rId3"/>
    <p:sldLayoutId id="2147484616" r:id="rId4"/>
    <p:sldLayoutId id="2147484617" r:id="rId5"/>
    <p:sldLayoutId id="2147484618" r:id="rId6"/>
    <p:sldLayoutId id="2147484619" r:id="rId7"/>
    <p:sldLayoutId id="2147484620" r:id="rId8"/>
    <p:sldLayoutId id="2147484621" r:id="rId9"/>
    <p:sldLayoutId id="2147484622" r:id="rId10"/>
    <p:sldLayoutId id="2147484623" r:id="rId11"/>
    <p:sldLayoutId id="2147484624" r:id="rId12"/>
    <p:sldLayoutId id="2147484625" r:id="rId13"/>
    <p:sldLayoutId id="2147484626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5pPr>
      <a:lvl6pPr marL="375635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75130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12695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502604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80988" indent="-280988" algn="l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09600" indent="-23336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938213" indent="-187325" algn="l" rtl="0" eaLnBrk="0" fontAlgn="base" hangingPunct="0">
        <a:spcBef>
          <a:spcPct val="20000"/>
        </a:spcBef>
        <a:spcAft>
          <a:spcPct val="0"/>
        </a:spcAft>
        <a:buChar char="•"/>
        <a:defRPr sz="1900">
          <a:solidFill>
            <a:schemeClr val="tx1"/>
          </a:solidFill>
          <a:latin typeface="+mn-lt"/>
        </a:defRPr>
      </a:lvl3pPr>
      <a:lvl4pPr marL="1314450" indent="-187325" algn="l" rtl="0" eaLnBrk="0" fontAlgn="base" hangingPunct="0">
        <a:spcBef>
          <a:spcPct val="20000"/>
        </a:spcBef>
        <a:spcAft>
          <a:spcPct val="0"/>
        </a:spcAft>
        <a:buChar char="–"/>
        <a:defRPr sz="1700">
          <a:solidFill>
            <a:schemeClr val="tx1"/>
          </a:solidFill>
          <a:latin typeface="+mn-lt"/>
        </a:defRPr>
      </a:lvl4pPr>
      <a:lvl5pPr marL="1689100" indent="-187325" algn="l" rtl="0" eaLnBrk="0" fontAlgn="base" hangingPunct="0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5pPr>
      <a:lvl6pPr marL="2066087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6pPr>
      <a:lvl7pPr marL="24417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7pPr>
      <a:lvl8pPr marL="2817394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8pPr>
      <a:lvl9pPr marL="31930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1pPr>
      <a:lvl2pPr marL="375635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75130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3pPr>
      <a:lvl4pPr marL="112695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4pPr>
      <a:lvl5pPr marL="150260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5pPr>
      <a:lvl6pPr marL="187825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6pPr>
      <a:lvl7pPr marL="225390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7pPr>
      <a:lvl8pPr marL="2629563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8pPr>
      <a:lvl9pPr marL="300521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7" descr="Template landscape shadow_5_Page_5.jp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075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987324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1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307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-31750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143001"/>
            <a:ext cx="10972800" cy="404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215967" y="6461125"/>
            <a:ext cx="2743200" cy="3635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891917" eaLnBrk="1" fontAlgn="auto" hangingPunct="1">
              <a:spcBef>
                <a:spcPts val="0"/>
              </a:spcBef>
              <a:spcAft>
                <a:spcPts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3B7CB058-AD0B-4862-8406-1B115F04FA87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27" r:id="rId1"/>
    <p:sldLayoutId id="2147484628" r:id="rId2"/>
    <p:sldLayoutId id="2147484629" r:id="rId3"/>
    <p:sldLayoutId id="2147484630" r:id="rId4"/>
    <p:sldLayoutId id="2147484631" r:id="rId5"/>
    <p:sldLayoutId id="2147484632" r:id="rId6"/>
    <p:sldLayoutId id="2147484633" r:id="rId7"/>
    <p:sldLayoutId id="2147484634" r:id="rId8"/>
    <p:sldLayoutId id="2147484635" r:id="rId9"/>
    <p:sldLayoutId id="2147484636" r:id="rId10"/>
    <p:sldLayoutId id="2147484637" r:id="rId11"/>
    <p:sldLayoutId id="2147484638" r:id="rId12"/>
    <p:sldLayoutId id="2147484639" r:id="rId13"/>
    <p:sldLayoutId id="2147484640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5pPr>
      <a:lvl6pPr marL="375635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75130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12695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502604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80988" indent="-280988" algn="l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09600" indent="-23336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938213" indent="-187325" algn="l" rtl="0" eaLnBrk="0" fontAlgn="base" hangingPunct="0">
        <a:spcBef>
          <a:spcPct val="20000"/>
        </a:spcBef>
        <a:spcAft>
          <a:spcPct val="0"/>
        </a:spcAft>
        <a:buChar char="•"/>
        <a:defRPr sz="1900">
          <a:solidFill>
            <a:schemeClr val="tx1"/>
          </a:solidFill>
          <a:latin typeface="+mn-lt"/>
        </a:defRPr>
      </a:lvl3pPr>
      <a:lvl4pPr marL="1314450" indent="-187325" algn="l" rtl="0" eaLnBrk="0" fontAlgn="base" hangingPunct="0">
        <a:spcBef>
          <a:spcPct val="20000"/>
        </a:spcBef>
        <a:spcAft>
          <a:spcPct val="0"/>
        </a:spcAft>
        <a:buChar char="–"/>
        <a:defRPr sz="1700">
          <a:solidFill>
            <a:schemeClr val="tx1"/>
          </a:solidFill>
          <a:latin typeface="+mn-lt"/>
        </a:defRPr>
      </a:lvl4pPr>
      <a:lvl5pPr marL="1689100" indent="-187325" algn="l" rtl="0" eaLnBrk="0" fontAlgn="base" hangingPunct="0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5pPr>
      <a:lvl6pPr marL="2066087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6pPr>
      <a:lvl7pPr marL="24417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7pPr>
      <a:lvl8pPr marL="2817394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8pPr>
      <a:lvl9pPr marL="31930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1pPr>
      <a:lvl2pPr marL="375635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75130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3pPr>
      <a:lvl4pPr marL="112695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4pPr>
      <a:lvl5pPr marL="150260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5pPr>
      <a:lvl6pPr marL="187825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6pPr>
      <a:lvl7pPr marL="225390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7pPr>
      <a:lvl8pPr marL="2629563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8pPr>
      <a:lvl9pPr marL="300521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5601"/>
            <a:ext cx="10972800" cy="4698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1200" y="6492240"/>
            <a:ext cx="4579200" cy="20116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646464"/>
                </a:solidFill>
                <a:ea typeface="+mn-ea"/>
              </a:rPr>
              <a:t>Demand led transformation of support services in Croyd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9600" y="6492240"/>
            <a:ext cx="960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srgbClr val="646464"/>
                </a:solidFill>
                <a:latin typeface="Arial"/>
                <a:ea typeface="+mn-ea"/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latin typeface="Arial"/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dirty="0">
              <a:solidFill>
                <a:srgbClr val="646464"/>
              </a:solidFill>
              <a:latin typeface="Arial"/>
              <a:ea typeface="+mn-ea"/>
            </a:endParaRP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2"/>
          </p:nvPr>
        </p:nvSpPr>
        <p:spPr>
          <a:xfrm>
            <a:off x="1623723" y="6492240"/>
            <a:ext cx="1584960" cy="201168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D3F59279-3087-FF45-AA3E-4D340672A5CE}" type="datetime1">
              <a:rPr lang="en-GB" smtClean="0">
                <a:solidFill>
                  <a:srgbClr val="646464"/>
                </a:solidFill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29/07/2019</a:t>
            </a:fld>
            <a:endParaRPr lang="en-US" dirty="0">
              <a:solidFill>
                <a:srgbClr val="646464"/>
              </a:solidFill>
              <a:ea typeface="+mn-ea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5952" y="6327648"/>
            <a:ext cx="536672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585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2" r:id="rId1"/>
    <p:sldLayoutId id="2147484643" r:id="rId2"/>
    <p:sldLayoutId id="2147484644" r:id="rId3"/>
    <p:sldLayoutId id="2147484645" r:id="rId4"/>
    <p:sldLayoutId id="2147484646" r:id="rId5"/>
    <p:sldLayoutId id="2147484647" r:id="rId6"/>
    <p:sldLayoutId id="2147484648" r:id="rId7"/>
    <p:sldLayoutId id="2147484649" r:id="rId8"/>
    <p:sldLayoutId id="2147484650" r:id="rId9"/>
    <p:sldLayoutId id="2147484651" r:id="rId10"/>
    <p:sldLayoutId id="2147484652" r:id="rId11"/>
    <p:sldLayoutId id="2147484653" r:id="rId12"/>
    <p:sldLayoutId id="2147484654" r:id="rId13"/>
    <p:sldLayoutId id="2147484655" r:id="rId14"/>
    <p:sldLayoutId id="2147484656" r:id="rId15"/>
    <p:sldLayoutId id="2147484657" r:id="rId16"/>
    <p:sldLayoutId id="2147484658" r:id="rId17"/>
    <p:sldLayoutId id="2147484659" r:id="rId18"/>
    <p:sldLayoutId id="2147484660" r:id="rId19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46" y="-31737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46" y="1143617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5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44" y="25639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214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913648"/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913648"/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52112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2" r:id="rId1"/>
    <p:sldLayoutId id="2147484663" r:id="rId2"/>
    <p:sldLayoutId id="2147484664" r:id="rId3"/>
    <p:sldLayoutId id="2147484665" r:id="rId4"/>
    <p:sldLayoutId id="2147484666" r:id="rId5"/>
    <p:sldLayoutId id="2147484667" r:id="rId6"/>
    <p:sldLayoutId id="2147484668" r:id="rId7"/>
    <p:sldLayoutId id="2147484669" r:id="rId8"/>
    <p:sldLayoutId id="2147484670" r:id="rId9"/>
    <p:sldLayoutId id="2147484671" r:id="rId10"/>
    <p:sldLayoutId id="2147484672" r:id="rId11"/>
    <p:sldLayoutId id="2147484673" r:id="rId12"/>
    <p:sldLayoutId id="2147484854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400499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800998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201497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601995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300374" indent="-300374" algn="l" rtl="0" fontAlgn="base">
        <a:spcBef>
          <a:spcPct val="20000"/>
        </a:spcBef>
        <a:spcAft>
          <a:spcPct val="0"/>
        </a:spcAft>
        <a:buChar char="•"/>
        <a:defRPr sz="2786">
          <a:solidFill>
            <a:schemeClr val="tx1"/>
          </a:solidFill>
          <a:latin typeface="+mn-lt"/>
          <a:ea typeface="+mn-ea"/>
          <a:cs typeface="+mn-cs"/>
        </a:defRPr>
      </a:lvl1pPr>
      <a:lvl2pPr marL="650811" indent="-250312" algn="l" rtl="0" fontAlgn="base">
        <a:spcBef>
          <a:spcPct val="20000"/>
        </a:spcBef>
        <a:spcAft>
          <a:spcPct val="0"/>
        </a:spcAft>
        <a:buChar char="–"/>
        <a:defRPr sz="2500">
          <a:solidFill>
            <a:schemeClr val="tx1"/>
          </a:solidFill>
          <a:latin typeface="+mn-lt"/>
        </a:defRPr>
      </a:lvl2pPr>
      <a:lvl3pPr marL="1001248" indent="-200250" algn="l" rtl="0" fontAlgn="base">
        <a:spcBef>
          <a:spcPct val="20000"/>
        </a:spcBef>
        <a:spcAft>
          <a:spcPct val="0"/>
        </a:spcAft>
        <a:buChar char="•"/>
        <a:defRPr sz="2071">
          <a:solidFill>
            <a:schemeClr val="tx1"/>
          </a:solidFill>
          <a:latin typeface="+mn-lt"/>
        </a:defRPr>
      </a:lvl3pPr>
      <a:lvl4pPr marL="1401745" indent="-200250" algn="l" rtl="0" fontAlgn="base">
        <a:spcBef>
          <a:spcPct val="20000"/>
        </a:spcBef>
        <a:spcAft>
          <a:spcPct val="0"/>
        </a:spcAft>
        <a:buChar char="–"/>
        <a:defRPr sz="1786">
          <a:solidFill>
            <a:schemeClr val="tx1"/>
          </a:solidFill>
          <a:latin typeface="+mn-lt"/>
        </a:defRPr>
      </a:lvl4pPr>
      <a:lvl5pPr marL="1802243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5pPr>
      <a:lvl6pPr marL="2202740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6pPr>
      <a:lvl7pPr marL="2603242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7pPr>
      <a:lvl8pPr marL="3003744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8pPr>
      <a:lvl9pPr marL="3404239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1pPr>
      <a:lvl2pPr marL="400499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2pPr>
      <a:lvl3pPr marL="800998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3pPr>
      <a:lvl4pPr marL="1201497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4pPr>
      <a:lvl5pPr marL="1601995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5pPr>
      <a:lvl6pPr marL="2002495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6pPr>
      <a:lvl7pPr marL="2402992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7pPr>
      <a:lvl8pPr marL="2803490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8pPr>
      <a:lvl9pPr marL="3203987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8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98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6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49" y="25639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13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56963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85696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05087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5" r:id="rId1"/>
    <p:sldLayoutId id="2147484676" r:id="rId2"/>
    <p:sldLayoutId id="2147484677" r:id="rId3"/>
    <p:sldLayoutId id="2147484678" r:id="rId4"/>
    <p:sldLayoutId id="2147484679" r:id="rId5"/>
    <p:sldLayoutId id="2147484680" r:id="rId6"/>
    <p:sldLayoutId id="2147484681" r:id="rId7"/>
    <p:sldLayoutId id="2147484682" r:id="rId8"/>
    <p:sldLayoutId id="2147484683" r:id="rId9"/>
    <p:sldLayoutId id="2147484684" r:id="rId10"/>
    <p:sldLayoutId id="2147484685" r:id="rId11"/>
    <p:sldLayoutId id="2147484686" r:id="rId12"/>
    <p:sldLayoutId id="2147484687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375635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75130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12695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502604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81740" indent="-281740" algn="l" rtl="0" fontAlgn="base">
        <a:spcBef>
          <a:spcPct val="20000"/>
        </a:spcBef>
        <a:spcAft>
          <a:spcPct val="0"/>
        </a:spcAft>
        <a:buChar char="•"/>
        <a:defRPr sz="2640">
          <a:solidFill>
            <a:schemeClr val="tx1"/>
          </a:solidFill>
          <a:latin typeface="+mn-lt"/>
          <a:ea typeface="+mn-ea"/>
          <a:cs typeface="+mn-cs"/>
        </a:defRPr>
      </a:lvl1pPr>
      <a:lvl2pPr marL="610433" indent="-234784" algn="l" rtl="0" fontAlgn="base">
        <a:spcBef>
          <a:spcPct val="20000"/>
        </a:spcBef>
        <a:spcAft>
          <a:spcPct val="0"/>
        </a:spcAft>
        <a:buChar char="–"/>
        <a:defRPr sz="2452">
          <a:solidFill>
            <a:schemeClr val="tx1"/>
          </a:solidFill>
          <a:latin typeface="+mn-lt"/>
        </a:defRPr>
      </a:lvl2pPr>
      <a:lvl3pPr marL="939131" indent="-187818" algn="l" rtl="0" fontAlgn="base">
        <a:spcBef>
          <a:spcPct val="20000"/>
        </a:spcBef>
        <a:spcAft>
          <a:spcPct val="0"/>
        </a:spcAft>
        <a:buChar char="•"/>
        <a:defRPr sz="1980">
          <a:solidFill>
            <a:schemeClr val="tx1"/>
          </a:solidFill>
          <a:latin typeface="+mn-lt"/>
        </a:defRPr>
      </a:lvl3pPr>
      <a:lvl4pPr marL="1314785" indent="-187818" algn="l" rtl="0" fontAlgn="base">
        <a:spcBef>
          <a:spcPct val="20000"/>
        </a:spcBef>
        <a:spcAft>
          <a:spcPct val="0"/>
        </a:spcAft>
        <a:buChar char="–"/>
        <a:defRPr sz="1791">
          <a:solidFill>
            <a:schemeClr val="tx1"/>
          </a:solidFill>
          <a:latin typeface="+mn-lt"/>
        </a:defRPr>
      </a:lvl4pPr>
      <a:lvl5pPr marL="1690433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5pPr>
      <a:lvl6pPr marL="2066087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6pPr>
      <a:lvl7pPr marL="24417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7pPr>
      <a:lvl8pPr marL="2817394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8pPr>
      <a:lvl9pPr marL="31930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1pPr>
      <a:lvl2pPr marL="375635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75130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3pPr>
      <a:lvl4pPr marL="112695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4pPr>
      <a:lvl5pPr marL="150260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5pPr>
      <a:lvl6pPr marL="187825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6pPr>
      <a:lvl7pPr marL="225390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7pPr>
      <a:lvl8pPr marL="2629563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8pPr>
      <a:lvl9pPr marL="300521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21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9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21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8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98" y="1143613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6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50" y="25639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66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07900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8079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46175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7" r:id="rId1"/>
    <p:sldLayoutId id="2147484718" r:id="rId2"/>
    <p:sldLayoutId id="2147484719" r:id="rId3"/>
    <p:sldLayoutId id="2147484720" r:id="rId4"/>
    <p:sldLayoutId id="2147484721" r:id="rId5"/>
    <p:sldLayoutId id="2147484722" r:id="rId6"/>
    <p:sldLayoutId id="2147484723" r:id="rId7"/>
    <p:sldLayoutId id="2147484724" r:id="rId8"/>
    <p:sldLayoutId id="2147484725" r:id="rId9"/>
    <p:sldLayoutId id="2147484726" r:id="rId10"/>
    <p:sldLayoutId id="2147484727" r:id="rId11"/>
    <p:sldLayoutId id="2147484728" r:id="rId12"/>
    <p:sldLayoutId id="2147484729" r:id="rId13"/>
    <p:sldLayoutId id="2147484730" r:id="rId14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354129"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708286"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062429"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416577"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65609" indent="-265609" algn="l" rtl="0" fontAlgn="base">
        <a:spcBef>
          <a:spcPct val="20000"/>
        </a:spcBef>
        <a:spcAft>
          <a:spcPct val="0"/>
        </a:spcAft>
        <a:buChar char="•"/>
        <a:defRPr sz="2489">
          <a:solidFill>
            <a:schemeClr val="tx1"/>
          </a:solidFill>
          <a:latin typeface="+mn-lt"/>
          <a:ea typeface="+mn-ea"/>
          <a:cs typeface="+mn-cs"/>
        </a:defRPr>
      </a:lvl1pPr>
      <a:lvl2pPr marL="575484" indent="-221342" algn="l" rtl="0" fontAlgn="base">
        <a:spcBef>
          <a:spcPct val="20000"/>
        </a:spcBef>
        <a:spcAft>
          <a:spcPct val="0"/>
        </a:spcAft>
        <a:buChar char="–"/>
        <a:defRPr sz="2311">
          <a:solidFill>
            <a:schemeClr val="tx1"/>
          </a:solidFill>
          <a:latin typeface="+mn-lt"/>
        </a:defRPr>
      </a:lvl2pPr>
      <a:lvl3pPr marL="885364" indent="-177065" algn="l" rtl="0" fontAlgn="base">
        <a:spcBef>
          <a:spcPct val="20000"/>
        </a:spcBef>
        <a:spcAft>
          <a:spcPct val="0"/>
        </a:spcAft>
        <a:buChar char="•"/>
        <a:defRPr sz="1867">
          <a:solidFill>
            <a:schemeClr val="tx1"/>
          </a:solidFill>
          <a:latin typeface="+mn-lt"/>
        </a:defRPr>
      </a:lvl3pPr>
      <a:lvl4pPr marL="1239510" indent="-177065" algn="l" rtl="0" fontAlgn="base">
        <a:spcBef>
          <a:spcPct val="20000"/>
        </a:spcBef>
        <a:spcAft>
          <a:spcPct val="0"/>
        </a:spcAft>
        <a:buChar char="–"/>
        <a:defRPr sz="1689">
          <a:solidFill>
            <a:schemeClr val="tx1"/>
          </a:solidFill>
          <a:latin typeface="+mn-lt"/>
        </a:defRPr>
      </a:lvl4pPr>
      <a:lvl5pPr marL="1593652" indent="-177065" algn="l" rtl="0" fontAlgn="base">
        <a:spcBef>
          <a:spcPct val="20000"/>
        </a:spcBef>
        <a:spcAft>
          <a:spcPct val="0"/>
        </a:spcAft>
        <a:buChar char="»"/>
        <a:defRPr sz="1689">
          <a:solidFill>
            <a:schemeClr val="tx1"/>
          </a:solidFill>
          <a:latin typeface="+mn-lt"/>
        </a:defRPr>
      </a:lvl5pPr>
      <a:lvl6pPr marL="1947799" indent="-177065" algn="l" rtl="0" fontAlgn="base">
        <a:spcBef>
          <a:spcPct val="20000"/>
        </a:spcBef>
        <a:spcAft>
          <a:spcPct val="0"/>
        </a:spcAft>
        <a:buChar char="»"/>
        <a:defRPr sz="1689">
          <a:solidFill>
            <a:schemeClr val="tx1"/>
          </a:solidFill>
          <a:latin typeface="+mn-lt"/>
        </a:defRPr>
      </a:lvl6pPr>
      <a:lvl7pPr marL="2301944" indent="-177065" algn="l" rtl="0" fontAlgn="base">
        <a:spcBef>
          <a:spcPct val="20000"/>
        </a:spcBef>
        <a:spcAft>
          <a:spcPct val="0"/>
        </a:spcAft>
        <a:buChar char="»"/>
        <a:defRPr sz="1689">
          <a:solidFill>
            <a:schemeClr val="tx1"/>
          </a:solidFill>
          <a:latin typeface="+mn-lt"/>
        </a:defRPr>
      </a:lvl7pPr>
      <a:lvl8pPr marL="2656092" indent="-177065" algn="l" rtl="0" fontAlgn="base">
        <a:spcBef>
          <a:spcPct val="20000"/>
        </a:spcBef>
        <a:spcAft>
          <a:spcPct val="0"/>
        </a:spcAft>
        <a:buChar char="»"/>
        <a:defRPr sz="1689">
          <a:solidFill>
            <a:schemeClr val="tx1"/>
          </a:solidFill>
          <a:latin typeface="+mn-lt"/>
        </a:defRPr>
      </a:lvl8pPr>
      <a:lvl9pPr marL="3010230" indent="-177065" algn="l" rtl="0" fontAlgn="base">
        <a:spcBef>
          <a:spcPct val="20000"/>
        </a:spcBef>
        <a:spcAft>
          <a:spcPct val="0"/>
        </a:spcAft>
        <a:buChar char="»"/>
        <a:defRPr sz="168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1pPr>
      <a:lvl2pPr marL="354129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2pPr>
      <a:lvl3pPr marL="708286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3pPr>
      <a:lvl4pPr marL="1062429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4pPr>
      <a:lvl5pPr marL="1416577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5pPr>
      <a:lvl6pPr marL="1770722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6pPr>
      <a:lvl7pPr marL="2124865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7pPr>
      <a:lvl8pPr marL="2479014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8pPr>
      <a:lvl9pPr marL="2833158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8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98" y="1143614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6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52" y="25639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5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761646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761646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04711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1" r:id="rId1"/>
    <p:sldLayoutId id="2147484792" r:id="rId2"/>
    <p:sldLayoutId id="2147484793" r:id="rId3"/>
    <p:sldLayoutId id="2147484794" r:id="rId4"/>
    <p:sldLayoutId id="2147484795" r:id="rId5"/>
    <p:sldLayoutId id="2147484796" r:id="rId6"/>
    <p:sldLayoutId id="2147484797" r:id="rId7"/>
    <p:sldLayoutId id="2147484798" r:id="rId8"/>
    <p:sldLayoutId id="2147484799" r:id="rId9"/>
    <p:sldLayoutId id="2147484800" r:id="rId10"/>
    <p:sldLayoutId id="2147484801" r:id="rId11"/>
    <p:sldLayoutId id="2147484802" r:id="rId12"/>
    <p:sldLayoutId id="2147484803" r:id="rId13"/>
    <p:sldLayoutId id="2147484804" r:id="rId14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333854"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667735"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001603"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335475"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50402" indent="-250402" algn="l" rtl="0" fontAlgn="base">
        <a:spcBef>
          <a:spcPct val="20000"/>
        </a:spcBef>
        <a:spcAft>
          <a:spcPct val="0"/>
        </a:spcAft>
        <a:buChar char="•"/>
        <a:defRPr sz="2346">
          <a:solidFill>
            <a:schemeClr val="tx1"/>
          </a:solidFill>
          <a:latin typeface="+mn-lt"/>
          <a:ea typeface="+mn-ea"/>
          <a:cs typeface="+mn-cs"/>
        </a:defRPr>
      </a:lvl1pPr>
      <a:lvl2pPr marL="542536" indent="-208670" algn="l" rtl="0" fontAlgn="base">
        <a:spcBef>
          <a:spcPct val="20000"/>
        </a:spcBef>
        <a:spcAft>
          <a:spcPct val="0"/>
        </a:spcAft>
        <a:buChar char="–"/>
        <a:defRPr sz="2179">
          <a:solidFill>
            <a:schemeClr val="tx1"/>
          </a:solidFill>
          <a:latin typeface="+mn-lt"/>
        </a:defRPr>
      </a:lvl2pPr>
      <a:lvl3pPr marL="834675" indent="-166927" algn="l" rtl="0" fontAlgn="base">
        <a:spcBef>
          <a:spcPct val="20000"/>
        </a:spcBef>
        <a:spcAft>
          <a:spcPct val="0"/>
        </a:spcAft>
        <a:buChar char="•"/>
        <a:defRPr sz="1760">
          <a:solidFill>
            <a:schemeClr val="tx1"/>
          </a:solidFill>
          <a:latin typeface="+mn-lt"/>
        </a:defRPr>
      </a:lvl3pPr>
      <a:lvl4pPr marL="1168545" indent="-166927" algn="l" rtl="0" fontAlgn="base">
        <a:spcBef>
          <a:spcPct val="20000"/>
        </a:spcBef>
        <a:spcAft>
          <a:spcPct val="0"/>
        </a:spcAft>
        <a:buChar char="–"/>
        <a:defRPr sz="1592">
          <a:solidFill>
            <a:schemeClr val="tx1"/>
          </a:solidFill>
          <a:latin typeface="+mn-lt"/>
        </a:defRPr>
      </a:lvl4pPr>
      <a:lvl5pPr marL="1502412" indent="-166927" algn="l" rtl="0" fontAlgn="base">
        <a:spcBef>
          <a:spcPct val="20000"/>
        </a:spcBef>
        <a:spcAft>
          <a:spcPct val="0"/>
        </a:spcAft>
        <a:buChar char="»"/>
        <a:defRPr sz="1592">
          <a:solidFill>
            <a:schemeClr val="tx1"/>
          </a:solidFill>
          <a:latin typeface="+mn-lt"/>
        </a:defRPr>
      </a:lvl5pPr>
      <a:lvl6pPr marL="1836283" indent="-166927" algn="l" rtl="0" fontAlgn="base">
        <a:spcBef>
          <a:spcPct val="20000"/>
        </a:spcBef>
        <a:spcAft>
          <a:spcPct val="0"/>
        </a:spcAft>
        <a:buChar char="»"/>
        <a:defRPr sz="1592">
          <a:solidFill>
            <a:schemeClr val="tx1"/>
          </a:solidFill>
          <a:latin typeface="+mn-lt"/>
        </a:defRPr>
      </a:lvl6pPr>
      <a:lvl7pPr marL="2170152" indent="-166927" algn="l" rtl="0" fontAlgn="base">
        <a:spcBef>
          <a:spcPct val="20000"/>
        </a:spcBef>
        <a:spcAft>
          <a:spcPct val="0"/>
        </a:spcAft>
        <a:buChar char="»"/>
        <a:defRPr sz="1592">
          <a:solidFill>
            <a:schemeClr val="tx1"/>
          </a:solidFill>
          <a:latin typeface="+mn-lt"/>
        </a:defRPr>
      </a:lvl7pPr>
      <a:lvl8pPr marL="2504024" indent="-166927" algn="l" rtl="0" fontAlgn="base">
        <a:spcBef>
          <a:spcPct val="20000"/>
        </a:spcBef>
        <a:spcAft>
          <a:spcPct val="0"/>
        </a:spcAft>
        <a:buChar char="»"/>
        <a:defRPr sz="1592">
          <a:solidFill>
            <a:schemeClr val="tx1"/>
          </a:solidFill>
          <a:latin typeface="+mn-lt"/>
        </a:defRPr>
      </a:lvl8pPr>
      <a:lvl9pPr marL="2837888" indent="-166927" algn="l" rtl="0" fontAlgn="base">
        <a:spcBef>
          <a:spcPct val="20000"/>
        </a:spcBef>
        <a:spcAft>
          <a:spcPct val="0"/>
        </a:spcAft>
        <a:buChar char="»"/>
        <a:defRPr sz="159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1pPr>
      <a:lvl2pPr marL="333854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2pPr>
      <a:lvl3pPr marL="667735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3pPr>
      <a:lvl4pPr marL="1001603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4pPr>
      <a:lvl5pPr marL="1335475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5pPr>
      <a:lvl6pPr marL="1669344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6pPr>
      <a:lvl7pPr marL="2003212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7pPr>
      <a:lvl8pPr marL="2337085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8pPr>
      <a:lvl9pPr marL="2670954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9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1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8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98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6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49" y="25639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13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56963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85696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87633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6" r:id="rId1"/>
    <p:sldLayoutId id="2147484807" r:id="rId2"/>
    <p:sldLayoutId id="2147484808" r:id="rId3"/>
    <p:sldLayoutId id="2147484809" r:id="rId4"/>
    <p:sldLayoutId id="2147484810" r:id="rId5"/>
    <p:sldLayoutId id="2147484811" r:id="rId6"/>
    <p:sldLayoutId id="2147484812" r:id="rId7"/>
    <p:sldLayoutId id="2147484813" r:id="rId8"/>
    <p:sldLayoutId id="2147484814" r:id="rId9"/>
    <p:sldLayoutId id="2147484815" r:id="rId10"/>
    <p:sldLayoutId id="2147484816" r:id="rId11"/>
    <p:sldLayoutId id="2147484817" r:id="rId12"/>
    <p:sldLayoutId id="2147484818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375635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75130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12695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502604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81740" indent="-281740" algn="l" rtl="0" fontAlgn="base">
        <a:spcBef>
          <a:spcPct val="20000"/>
        </a:spcBef>
        <a:spcAft>
          <a:spcPct val="0"/>
        </a:spcAft>
        <a:buChar char="•"/>
        <a:defRPr sz="2640">
          <a:solidFill>
            <a:schemeClr val="tx1"/>
          </a:solidFill>
          <a:latin typeface="+mn-lt"/>
          <a:ea typeface="+mn-ea"/>
          <a:cs typeface="+mn-cs"/>
        </a:defRPr>
      </a:lvl1pPr>
      <a:lvl2pPr marL="610433" indent="-234784" algn="l" rtl="0" fontAlgn="base">
        <a:spcBef>
          <a:spcPct val="20000"/>
        </a:spcBef>
        <a:spcAft>
          <a:spcPct val="0"/>
        </a:spcAft>
        <a:buChar char="–"/>
        <a:defRPr sz="2452">
          <a:solidFill>
            <a:schemeClr val="tx1"/>
          </a:solidFill>
          <a:latin typeface="+mn-lt"/>
        </a:defRPr>
      </a:lvl2pPr>
      <a:lvl3pPr marL="939131" indent="-187818" algn="l" rtl="0" fontAlgn="base">
        <a:spcBef>
          <a:spcPct val="20000"/>
        </a:spcBef>
        <a:spcAft>
          <a:spcPct val="0"/>
        </a:spcAft>
        <a:buChar char="•"/>
        <a:defRPr sz="1980">
          <a:solidFill>
            <a:schemeClr val="tx1"/>
          </a:solidFill>
          <a:latin typeface="+mn-lt"/>
        </a:defRPr>
      </a:lvl3pPr>
      <a:lvl4pPr marL="1314785" indent="-187818" algn="l" rtl="0" fontAlgn="base">
        <a:spcBef>
          <a:spcPct val="20000"/>
        </a:spcBef>
        <a:spcAft>
          <a:spcPct val="0"/>
        </a:spcAft>
        <a:buChar char="–"/>
        <a:defRPr sz="1791">
          <a:solidFill>
            <a:schemeClr val="tx1"/>
          </a:solidFill>
          <a:latin typeface="+mn-lt"/>
        </a:defRPr>
      </a:lvl4pPr>
      <a:lvl5pPr marL="1690433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5pPr>
      <a:lvl6pPr marL="2066087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6pPr>
      <a:lvl7pPr marL="24417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7pPr>
      <a:lvl8pPr marL="2817394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8pPr>
      <a:lvl9pPr marL="31930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1pPr>
      <a:lvl2pPr marL="375635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75130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3pPr>
      <a:lvl4pPr marL="112695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4pPr>
      <a:lvl5pPr marL="150260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5pPr>
      <a:lvl6pPr marL="187825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6pPr>
      <a:lvl7pPr marL="225390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7pPr>
      <a:lvl8pPr marL="2629563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8pPr>
      <a:lvl9pPr marL="300521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2.xml"/><Relationship Id="rId5" Type="http://schemas.openxmlformats.org/officeDocument/2006/relationships/hyperlink" Target="https://procontract.due-north.com/register" TargetMode="External"/><Relationship Id="rId4" Type="http://schemas.openxmlformats.org/officeDocument/2006/relationships/hyperlink" Target="http://valuecroydon.com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9035" y="1854703"/>
            <a:ext cx="10126165" cy="2917398"/>
          </a:xfrm>
        </p:spPr>
        <p:txBody>
          <a:bodyPr/>
          <a:lstStyle/>
          <a:p>
            <a:pPr algn="ctr"/>
            <a:r>
              <a:rPr lang="en-GB" sz="4400" dirty="0" smtClean="0">
                <a:cs typeface="Calibri" panose="020F0502020204030204" pitchFamily="34" charset="0"/>
              </a:rPr>
              <a:t>Independent Information &amp; Advice Service Tender Process</a:t>
            </a:r>
            <a:br>
              <a:rPr lang="en-GB" sz="4400" dirty="0" smtClean="0">
                <a:cs typeface="Calibri" panose="020F0502020204030204" pitchFamily="34" charset="0"/>
              </a:rPr>
            </a:br>
            <a:r>
              <a:rPr lang="en-GB" sz="3600" dirty="0"/>
              <a:t/>
            </a:r>
            <a:br>
              <a:rPr lang="en-GB" sz="3600" dirty="0"/>
            </a:br>
            <a:r>
              <a:rPr lang="en-GB" sz="2400" dirty="0"/>
              <a:t/>
            </a:r>
            <a:br>
              <a:rPr lang="en-GB" sz="2400" dirty="0"/>
            </a:br>
            <a:r>
              <a:rPr lang="en-GB" sz="2400" dirty="0"/>
              <a:t/>
            </a:r>
            <a:br>
              <a:rPr lang="en-GB" sz="2400" dirty="0"/>
            </a:br>
            <a:r>
              <a:rPr lang="en-GB" sz="2400" dirty="0"/>
              <a:t/>
            </a:r>
            <a:br>
              <a:rPr lang="en-GB" sz="2400" dirty="0"/>
            </a:br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1296276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46" y="-189392"/>
            <a:ext cx="10971532" cy="1143000"/>
          </a:xfrm>
        </p:spPr>
        <p:txBody>
          <a:bodyPr/>
          <a:lstStyle/>
          <a:p>
            <a:pPr algn="ctr"/>
            <a:r>
              <a:rPr lang="en-GB" dirty="0" smtClean="0"/>
              <a:t>Tender Process- What you need to complet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246" y="788277"/>
            <a:ext cx="10971532" cy="5754414"/>
          </a:xfrm>
        </p:spPr>
        <p:txBody>
          <a:bodyPr/>
          <a:lstStyle/>
          <a:p>
            <a:r>
              <a:rPr lang="en-GB" sz="2400" b="1" dirty="0" smtClean="0"/>
              <a:t>Part 3- Details required include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Answer 5 method statement questions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5 method statements form 70% of evaluation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age limit for each question</a:t>
            </a:r>
          </a:p>
          <a:p>
            <a:pPr marL="0" indent="0">
              <a:buNone/>
            </a:pPr>
            <a:endParaRPr lang="en-GB" sz="2400" dirty="0"/>
          </a:p>
          <a:p>
            <a:r>
              <a:rPr lang="en-GB" sz="2400" b="1" dirty="0" smtClean="0"/>
              <a:t>Part 4- Details required include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rovide a breakdown of your financial model (budget sheet provided)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Assessment will be made on Value for Money linked to method statement questions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Cost of service forms 30% of the evaluation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Lowest price awarded maximum 30%</a:t>
            </a:r>
          </a:p>
          <a:p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3086608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46" y="-189392"/>
            <a:ext cx="10971532" cy="1143000"/>
          </a:xfrm>
        </p:spPr>
        <p:txBody>
          <a:bodyPr/>
          <a:lstStyle/>
          <a:p>
            <a:pPr algn="ctr"/>
            <a:r>
              <a:rPr lang="en-GB" dirty="0" smtClean="0"/>
              <a:t>Tender Process- What to do during the tender period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246" y="788277"/>
            <a:ext cx="10971532" cy="5754414"/>
          </a:xfrm>
        </p:spPr>
        <p:txBody>
          <a:bodyPr/>
          <a:lstStyle/>
          <a:p>
            <a:r>
              <a:rPr lang="en-GB" sz="2400" dirty="0" smtClean="0"/>
              <a:t>Raise questions via the London Tenders Portal to clarify anything you are unsure of</a:t>
            </a:r>
          </a:p>
          <a:p>
            <a:pPr marL="0" indent="0">
              <a:buNone/>
            </a:pPr>
            <a:endParaRPr lang="en-GB" sz="2400" dirty="0"/>
          </a:p>
          <a:p>
            <a:r>
              <a:rPr lang="en-GB" sz="2400" dirty="0" smtClean="0"/>
              <a:t>The Council encourages collaboration as part of the delivery of the Advice service. Use today to network with organisations.</a:t>
            </a:r>
          </a:p>
          <a:p>
            <a:endParaRPr lang="en-GB" sz="2400" dirty="0"/>
          </a:p>
          <a:p>
            <a:r>
              <a:rPr lang="en-GB" sz="2400" dirty="0" smtClean="0"/>
              <a:t>Make sure that you return all the required information and check that all questions have been answered.</a:t>
            </a:r>
          </a:p>
          <a:p>
            <a:endParaRPr lang="en-GB" sz="2400" dirty="0" smtClean="0"/>
          </a:p>
          <a:p>
            <a:r>
              <a:rPr lang="en-GB" sz="2400" dirty="0" smtClean="0"/>
              <a:t>Don’t leave it to the last minute to load your tender response on the portal.</a:t>
            </a:r>
          </a:p>
          <a:p>
            <a:endParaRPr lang="en-GB" sz="2400" dirty="0"/>
          </a:p>
          <a:p>
            <a:r>
              <a:rPr lang="en-GB" sz="2400" dirty="0" smtClean="0"/>
              <a:t>Remember the deadline for application is end of September 2019.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325004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GB" sz="6000" dirty="0" smtClean="0"/>
              <a:t>Any questions? </a:t>
            </a:r>
          </a:p>
          <a:p>
            <a:pPr marL="0" indent="0" algn="ctr">
              <a:buNone/>
            </a:pPr>
            <a:endParaRPr lang="en-GB" sz="4000" dirty="0"/>
          </a:p>
          <a:p>
            <a:pPr marL="0" indent="0" algn="ctr">
              <a:buNone/>
            </a:pPr>
            <a:endParaRPr lang="en-GB" sz="4000" dirty="0" smtClean="0"/>
          </a:p>
          <a:p>
            <a:pPr marL="0" indent="0" algn="ctr">
              <a:buNone/>
            </a:pPr>
            <a:r>
              <a:rPr lang="en-GB" sz="4000" dirty="0" smtClean="0"/>
              <a:t>Opportunity for networking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3780834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">
            <a:extLst>
              <a:ext uri="{FF2B5EF4-FFF2-40B4-BE49-F238E27FC236}">
                <a16:creationId xmlns="" xmlns:a16="http://schemas.microsoft.com/office/drawing/2014/main" id="{0B80D726-5F83-43CA-A57E-A3E5269093D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2209834" y="2443029"/>
            <a:ext cx="7772332" cy="3019028"/>
          </a:xfrm>
        </p:spPr>
        <p:txBody>
          <a:bodyPr anchor="t"/>
          <a:lstStyle/>
          <a:p>
            <a:pPr algn="l" eaLnBrk="1" hangingPunct="1"/>
            <a:r>
              <a:rPr lang="en-GB" altLang="en-US" b="1" dirty="0">
                <a:solidFill>
                  <a:schemeClr val="bg1"/>
                </a:solidFill>
                <a:latin typeface="Arial" panose="020B0604020202020204" pitchFamily="34" charset="0"/>
              </a:rPr>
              <a:t>Presentation Title</a:t>
            </a:r>
            <a:r>
              <a:rPr lang="en-GB" altLang="en-US" dirty="0">
                <a:solidFill>
                  <a:schemeClr val="bg1"/>
                </a:solidFill>
                <a:latin typeface="Arial" panose="020B0604020202020204" pitchFamily="34" charset="0"/>
              </a:rPr>
              <a:t/>
            </a:r>
            <a:br>
              <a:rPr lang="en-GB" altLang="en-US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GB" altLang="en-US" sz="2139" i="1" dirty="0">
                <a:solidFill>
                  <a:schemeClr val="bg1"/>
                </a:solidFill>
                <a:latin typeface="Arial" panose="020B0604020202020204" pitchFamily="34" charset="0"/>
              </a:rPr>
              <a:t>Presented by John Smith</a:t>
            </a:r>
            <a: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  <a:t/>
            </a:r>
            <a:b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  <a:t/>
            </a:r>
            <a:b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  <a:t/>
            </a:r>
            <a:b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  <a:t/>
            </a:r>
            <a:b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  <a:t/>
            </a:r>
            <a:b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</a:br>
            <a:endParaRPr lang="en-GB" altLang="en-US" sz="1797" i="1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pic>
        <p:nvPicPr>
          <p:cNvPr id="4100" name="Picture 5">
            <a:extLst>
              <a:ext uri="{FF2B5EF4-FFF2-40B4-BE49-F238E27FC236}">
                <a16:creationId xmlns="" xmlns:a16="http://schemas.microsoft.com/office/drawing/2014/main" id="{16288767-E253-4C5E-BC16-79CD4048AF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64" y="6077270"/>
            <a:ext cx="1803540" cy="38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1" name="Rectangle 4">
            <a:extLst>
              <a:ext uri="{FF2B5EF4-FFF2-40B4-BE49-F238E27FC236}">
                <a16:creationId xmlns="" xmlns:a16="http://schemas.microsoft.com/office/drawing/2014/main" id="{7229FCCC-89F1-4BEB-A6AD-1B40354CE7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9035" y="1499186"/>
            <a:ext cx="7772333" cy="3019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16" tIns="44609" rIns="89216" bIns="44609" anchor="t"/>
          <a:lstStyle>
            <a:lvl1pPr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1pPr>
            <a:lvl2pPr marL="742950" indent="-285750"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2pPr>
            <a:lvl3pPr marL="1143000" indent="-228600"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3pPr>
            <a:lvl4pPr marL="1600200" indent="-228600"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4pPr>
            <a:lvl5pPr marL="2057400" indent="-228600"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9pPr>
          </a:lstStyle>
          <a:p>
            <a:pPr algn="ctr" eaLnBrk="1" hangingPunct="1"/>
            <a:r>
              <a:rPr lang="en-GB" altLang="en-US" sz="3080" b="1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Thank </a:t>
            </a:r>
            <a:r>
              <a:rPr lang="en-GB" altLang="en-US" sz="3080" b="1" dirty="0" smtClean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you for listening!</a:t>
            </a:r>
          </a:p>
          <a:p>
            <a:pPr algn="ctr" eaLnBrk="1" hangingPunct="1"/>
            <a:r>
              <a:rPr lang="en-GB" altLang="en-US" sz="3080" b="1" dirty="0" smtClean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Further information:</a:t>
            </a:r>
            <a:endParaRPr lang="en-GB" altLang="en-US" sz="3080" b="1" dirty="0"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  <a:p>
            <a:pPr algn="ctr" eaLnBrk="1" hangingPunct="1"/>
            <a:endParaRPr lang="en-GB" altLang="en-US" sz="2395" b="1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algn="ctr" eaLnBrk="1" hangingPunct="1"/>
            <a:r>
              <a:rPr lang="en-GB" altLang="en-US" sz="3080" dirty="0" smtClean="0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  <a:hlinkClick r:id="rId4"/>
              </a:rPr>
              <a:t>www.valuecroydon.com</a:t>
            </a:r>
            <a:r>
              <a:rPr lang="en-GB" altLang="en-US" sz="3080" dirty="0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  <a:hlinkClick r:id="rId4"/>
              </a:rPr>
              <a:t>/</a:t>
            </a:r>
            <a:endParaRPr lang="en-GB" altLang="en-US" sz="3080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  <a:p>
            <a:pPr algn="ctr" eaLnBrk="1" hangingPunct="1"/>
            <a:endParaRPr lang="en-GB" altLang="en-US" sz="3080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  <a:p>
            <a:pPr algn="ctr" eaLnBrk="1" hangingPunct="1"/>
            <a:r>
              <a:rPr lang="en-GB" altLang="en-US" sz="3080" dirty="0" smtClean="0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  <a:hlinkClick r:id="rId5"/>
              </a:rPr>
              <a:t>https://procontract.due-north.com/register</a:t>
            </a:r>
            <a:endParaRPr lang="en-GB" altLang="en-US" sz="3080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  <a:p>
            <a:pPr algn="ctr" eaLnBrk="1" hangingPunct="1"/>
            <a:endParaRPr lang="en-GB" altLang="en-US" sz="3080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  <a:p>
            <a:pPr algn="ctr" eaLnBrk="1" hangingPunct="1"/>
            <a: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/>
            </a:r>
            <a:b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</a:br>
            <a: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/>
            </a:r>
            <a:b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</a:br>
            <a: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/>
            </a:r>
            <a:b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</a:br>
            <a: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/>
            </a:r>
            <a:b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</a:br>
            <a: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/>
            </a:r>
            <a:b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</a:br>
            <a:endParaRPr lang="en-GB" altLang="en-US" sz="1797" i="1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29478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47528" y="164160"/>
            <a:ext cx="8712968" cy="1078321"/>
          </a:xfrm>
        </p:spPr>
        <p:txBody>
          <a:bodyPr/>
          <a:lstStyle/>
          <a:p>
            <a:pPr eaLnBrk="1" hangingPunct="1">
              <a:defRPr/>
            </a:pPr>
            <a:r>
              <a:rPr lang="en-GB" sz="3032" dirty="0"/>
              <a:t>Agend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847528" y="1242480"/>
            <a:ext cx="83529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2063552" y="1340768"/>
            <a:ext cx="72008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 smtClean="0"/>
              <a:t>Welcome</a:t>
            </a:r>
          </a:p>
          <a:p>
            <a:endParaRPr lang="en-GB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 smtClean="0"/>
              <a:t>Service commissioning </a:t>
            </a:r>
            <a:endParaRPr lang="en-GB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/>
              <a:t>Overview of the commissioning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/>
              <a:t>Q &amp; A</a:t>
            </a:r>
          </a:p>
          <a:p>
            <a:endParaRPr lang="en-GB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57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3512" y="88107"/>
            <a:ext cx="8856984" cy="1078321"/>
          </a:xfrm>
        </p:spPr>
        <p:txBody>
          <a:bodyPr/>
          <a:lstStyle/>
          <a:p>
            <a:pPr eaLnBrk="1" hangingPunct="1">
              <a:defRPr/>
            </a:pPr>
            <a:r>
              <a:rPr lang="en-GB" sz="3032" dirty="0"/>
              <a:t>Why have we adopted a VCS Strategy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03512" y="1166427"/>
            <a:ext cx="8856984" cy="4295630"/>
          </a:xfrm>
        </p:spPr>
        <p:txBody>
          <a:bodyPr/>
          <a:lstStyle/>
          <a:p>
            <a:pPr marL="323507" indent="-323507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rgbClr val="000000"/>
                </a:solidFill>
                <a:cs typeface="Calibri" panose="020F0502020204030204" pitchFamily="34" charset="0"/>
              </a:rPr>
              <a:t>Croydon Council has committed to maintain our contribution to the </a:t>
            </a:r>
            <a:r>
              <a:rPr lang="en-GB" sz="2400" dirty="0" smtClean="0">
                <a:solidFill>
                  <a:srgbClr val="000000"/>
                </a:solidFill>
                <a:cs typeface="Calibri" panose="020F0502020204030204" pitchFamily="34" charset="0"/>
              </a:rPr>
              <a:t>sector despite ongoing </a:t>
            </a:r>
            <a:r>
              <a:rPr lang="en-GB" sz="2400" dirty="0">
                <a:solidFill>
                  <a:srgbClr val="000000"/>
                </a:solidFill>
                <a:cs typeface="Calibri" panose="020F0502020204030204" pitchFamily="34" charset="0"/>
              </a:rPr>
              <a:t>financial pressures (75% reduction in government grant between 2011 and 2020)</a:t>
            </a:r>
          </a:p>
          <a:p>
            <a:pPr marL="323507" indent="-323507">
              <a:buFont typeface="Arial" panose="020B0604020202020204" pitchFamily="34" charset="0"/>
              <a:buChar char="•"/>
              <a:defRPr/>
            </a:pPr>
            <a:endParaRPr lang="en-GB" sz="2400" dirty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323507" indent="-323507">
              <a:buFont typeface="Arial" panose="020B0604020202020204" pitchFamily="34" charset="0"/>
              <a:buChar char="•"/>
              <a:defRPr/>
            </a:pPr>
            <a:r>
              <a:rPr lang="en-GB" sz="2400" dirty="0" smtClean="0">
                <a:solidFill>
                  <a:srgbClr val="000000"/>
                </a:solidFill>
                <a:cs typeface="Calibri" panose="020F0502020204030204" pitchFamily="34" charset="0"/>
              </a:rPr>
              <a:t>New </a:t>
            </a:r>
            <a:r>
              <a:rPr lang="en-GB" sz="2400" smtClean="0">
                <a:solidFill>
                  <a:srgbClr val="000000"/>
                </a:solidFill>
                <a:cs typeface="Calibri" panose="020F0502020204030204" pitchFamily="34" charset="0"/>
              </a:rPr>
              <a:t>strategy will:-</a:t>
            </a:r>
            <a:endParaRPr lang="en-GB" sz="2400" dirty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673944" lvl="1" indent="-323507">
              <a:buFont typeface="Arial" panose="020B0604020202020204" pitchFamily="34" charset="0"/>
              <a:buChar char="•"/>
              <a:defRPr/>
            </a:pPr>
            <a:r>
              <a:rPr lang="en-GB" sz="2400" dirty="0"/>
              <a:t>Focus our support more on Corporate Plan priorities</a:t>
            </a:r>
          </a:p>
          <a:p>
            <a:pPr marL="673944" lvl="1" indent="-323507">
              <a:buFont typeface="Arial" panose="020B0604020202020204" pitchFamily="34" charset="0"/>
              <a:buChar char="•"/>
              <a:defRPr/>
            </a:pPr>
            <a:r>
              <a:rPr lang="en-GB" sz="2400" dirty="0"/>
              <a:t>Achieve Value for Money </a:t>
            </a:r>
          </a:p>
          <a:p>
            <a:pPr marL="673944" lvl="1" indent="-323507">
              <a:buFont typeface="Arial" panose="020B0604020202020204" pitchFamily="34" charset="0"/>
              <a:buChar char="•"/>
              <a:defRPr/>
            </a:pPr>
            <a:r>
              <a:rPr lang="en-GB" sz="2400" dirty="0"/>
              <a:t>Increase collaboration and reduce duplication</a:t>
            </a:r>
          </a:p>
          <a:p>
            <a:pPr marL="673944" lvl="1" indent="-323507">
              <a:buFont typeface="Arial" panose="020B0604020202020204" pitchFamily="34" charset="0"/>
              <a:buChar char="•"/>
              <a:defRPr/>
            </a:pPr>
            <a:r>
              <a:rPr lang="en-GB" sz="2400" dirty="0"/>
              <a:t>Different responses to different issues in different areas</a:t>
            </a:r>
          </a:p>
        </p:txBody>
      </p:sp>
    </p:spTree>
    <p:extLst>
      <p:ext uri="{BB962C8B-B14F-4D97-AF65-F5344CB8AC3E}">
        <p14:creationId xmlns:p14="http://schemas.microsoft.com/office/powerpoint/2010/main" val="126959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/>
          <p:nvPr/>
        </p:nvSpPr>
        <p:spPr bwMode="auto">
          <a:xfrm>
            <a:off x="8482032" y="2089895"/>
            <a:ext cx="2129190" cy="3717732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1545" y="1029992"/>
            <a:ext cx="8228649" cy="857250"/>
          </a:xfrm>
        </p:spPr>
        <p:txBody>
          <a:bodyPr/>
          <a:lstStyle/>
          <a:p>
            <a:r>
              <a:rPr lang="en-GB"/>
              <a:t/>
            </a:r>
            <a:br>
              <a:rPr lang="en-GB"/>
            </a:br>
            <a:endParaRPr lang="en-GB"/>
          </a:p>
        </p:txBody>
      </p:sp>
      <p:sp>
        <p:nvSpPr>
          <p:cNvPr id="43" name="Title 1"/>
          <p:cNvSpPr txBox="1">
            <a:spLocks/>
          </p:cNvSpPr>
          <p:nvPr/>
        </p:nvSpPr>
        <p:spPr bwMode="auto">
          <a:xfrm>
            <a:off x="1587458" y="-64678"/>
            <a:ext cx="8856984" cy="1078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5pPr>
            <a:lvl6pPr marL="298835"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597695"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896542"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195392"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GB" sz="3032" kern="0"/>
              <a:t>The commissioning approach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1873580" y="980728"/>
            <a:ext cx="8308673" cy="576064"/>
          </a:xfrm>
          <a:prstGeom prst="rect">
            <a:avLst/>
          </a:prstGeom>
          <a:solidFill>
            <a:srgbClr val="84006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3200" dirty="0">
                <a:solidFill>
                  <a:srgbClr val="FFFFFF"/>
                </a:solidFill>
              </a:rPr>
              <a:t>Community Fund - </a:t>
            </a:r>
            <a:r>
              <a:rPr lang="en-GB" sz="3200" dirty="0">
                <a:solidFill>
                  <a:prstClr val="white"/>
                </a:solidFill>
              </a:rPr>
              <a:t>£2.6m p/a next 3 years</a:t>
            </a:r>
          </a:p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1769535" y="3591301"/>
          <a:ext cx="8561087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33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8034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9523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1106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51106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714757"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icative pot per outcome</a:t>
                      </a:r>
                    </a:p>
                    <a:p>
                      <a:pPr marL="171450" lvl="0" indent="-17145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% for emerging need</a:t>
                      </a: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age procurement</a:t>
                      </a: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59769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utcomes linked to VCS strategy</a:t>
                      </a:r>
                    </a:p>
                    <a:p>
                      <a:pPr marL="171450" lvl="0" indent="-17145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ludes ring fenced Prevention Fund </a:t>
                      </a:r>
                    </a:p>
                    <a:p>
                      <a:pPr marL="171450" marR="0" lvl="0" indent="-171450" algn="l" defTabSz="59769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 for up to</a:t>
                      </a: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years</a:t>
                      </a:r>
                    </a:p>
                    <a:p>
                      <a:pPr marL="171450" marR="0" lvl="0" indent="-171450" algn="l" defTabSz="59769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597695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stage procurement</a:t>
                      </a:r>
                    </a:p>
                    <a:p>
                      <a:pPr marL="171450" marR="0" lvl="0" indent="-171450" algn="l" defTabSz="59769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ality</a:t>
                      </a: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ssurance </a:t>
                      </a: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 Contract Management Prevention</a:t>
                      </a: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und Contracts under £15k</a:t>
                      </a:r>
                    </a:p>
                    <a:p>
                      <a:pPr marL="171450" marR="0" lvl="0" indent="-171450" algn="l" defTabSz="59769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 for 3 years</a:t>
                      </a: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59769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 algn="l" defTabSz="597695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597695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laborative bids encouraged – collaboration agreement</a:t>
                      </a:r>
                      <a:r>
                        <a:rPr lang="en-GB" sz="1200" b="1" kern="1200" baseline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etween Council &amp; providers</a:t>
                      </a:r>
                      <a:endParaRPr lang="en-GB" sz="1200" b="1" kern="120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 algn="l" defTabSz="597695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OI, tender</a:t>
                      </a:r>
                      <a:r>
                        <a:rPr lang="en-GB" sz="1200" b="1" kern="1200" baseline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ith the option to </a:t>
                      </a:r>
                      <a:r>
                        <a:rPr lang="en-GB" sz="1200" b="1" kern="120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gotiate</a:t>
                      </a:r>
                    </a:p>
                    <a:p>
                      <a:pPr marL="171450" lvl="0" indent="-171450" algn="l" defTabSz="597695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 for 3 yea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597695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stage procurement</a:t>
                      </a:r>
                    </a:p>
                    <a:p>
                      <a:pPr marL="171450" lvl="0" indent="-171450" algn="l" defTabSz="597695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 for 3 yea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597695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stage procurement</a:t>
                      </a:r>
                    </a:p>
                    <a:p>
                      <a:pPr marL="171450" lvl="0" indent="-171450" algn="l" defTabSz="597695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 for 3 years</a:t>
                      </a:r>
                    </a:p>
                    <a:p>
                      <a:pPr marL="171450" lvl="0" indent="-171450" algn="l" defTabSz="597695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1689135" y="1740702"/>
            <a:ext cx="8676134" cy="1825237"/>
            <a:chOff x="179512" y="1726324"/>
            <a:chExt cx="8676134" cy="1825237"/>
          </a:xfrm>
        </p:grpSpPr>
        <p:sp>
          <p:nvSpPr>
            <p:cNvPr id="4" name="Oval 3"/>
            <p:cNvSpPr/>
            <p:nvPr/>
          </p:nvSpPr>
          <p:spPr>
            <a:xfrm>
              <a:off x="349579" y="2250051"/>
              <a:ext cx="1550963" cy="1301510"/>
            </a:xfrm>
            <a:prstGeom prst="ellipse">
              <a:avLst/>
            </a:prstGeom>
            <a:solidFill>
              <a:srgbClr val="F0F0F0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IN" sz="2000">
                <a:solidFill>
                  <a:srgbClr val="FFFFFF"/>
                </a:solidFill>
              </a:endParaRPr>
            </a:p>
          </p:txBody>
        </p:sp>
        <p:sp>
          <p:nvSpPr>
            <p:cNvPr id="5" name="Rechteck 24"/>
            <p:cNvSpPr/>
            <p:nvPr/>
          </p:nvSpPr>
          <p:spPr bwMode="gray">
            <a:xfrm>
              <a:off x="677204" y="2768025"/>
              <a:ext cx="1230500" cy="26776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anchor="ctr">
              <a:spAutoFit/>
            </a:bodyPr>
            <a:lstStyle/>
            <a:p>
              <a:pPr defTabSz="646537" eaLnBrk="1" fontAlgn="auto" hangingPunct="1">
                <a:lnSpc>
                  <a:spcPct val="95000"/>
                </a:lnSpc>
                <a:spcBef>
                  <a:spcPts val="0"/>
                </a:spcBef>
                <a:spcAft>
                  <a:spcPts val="566"/>
                </a:spcAft>
                <a:defRPr/>
              </a:pPr>
              <a:r>
                <a:rPr lang="en-US" sz="1200" b="1">
                  <a:solidFill>
                    <a:srgbClr val="84006F"/>
                  </a:solidFill>
                </a:rPr>
                <a:t>Outcomes</a:t>
              </a:r>
              <a:endParaRPr lang="en-US" sz="800">
                <a:solidFill>
                  <a:srgbClr val="646464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179512" y="2699037"/>
              <a:ext cx="502323" cy="421531"/>
            </a:xfrm>
            <a:prstGeom prst="ellipse">
              <a:avLst/>
            </a:prstGeom>
            <a:solidFill>
              <a:srgbClr val="84006F"/>
            </a:solidFill>
            <a:ln w="57150">
              <a:solidFill>
                <a:srgbClr val="F0F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>
                  <a:solidFill>
                    <a:srgbClr val="FFFFFF"/>
                  </a:solidFill>
                </a:rPr>
                <a:t>01</a:t>
              </a:r>
              <a:endParaRPr lang="en-IN" sz="2400" b="1">
                <a:solidFill>
                  <a:srgbClr val="FFFFFF"/>
                </a:solidFill>
              </a:endParaRPr>
            </a:p>
          </p:txBody>
        </p:sp>
        <p:sp>
          <p:nvSpPr>
            <p:cNvPr id="19" name="Right Arrow 18"/>
            <p:cNvSpPr/>
            <p:nvPr/>
          </p:nvSpPr>
          <p:spPr>
            <a:xfrm rot="5400000">
              <a:off x="878454" y="1816324"/>
              <a:ext cx="504000" cy="32400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84006F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ight Arrow 4"/>
            <p:cNvSpPr/>
            <p:nvPr/>
          </p:nvSpPr>
          <p:spPr>
            <a:xfrm rot="5400000">
              <a:off x="954054" y="1805524"/>
              <a:ext cx="352800" cy="194400"/>
            </a:xfrm>
            <a:prstGeom prst="rect">
              <a:avLst/>
            </a:prstGeom>
            <a:solidFill>
              <a:srgbClr val="84006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</a:pPr>
              <a:endParaRPr lang="en-GB" sz="1700">
                <a:solidFill>
                  <a:prstClr val="white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5400000">
              <a:off x="6066498" y="1816324"/>
              <a:ext cx="504000" cy="32400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84006F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ight Arrow 4"/>
            <p:cNvSpPr/>
            <p:nvPr/>
          </p:nvSpPr>
          <p:spPr>
            <a:xfrm rot="5400000">
              <a:off x="6142098" y="1805524"/>
              <a:ext cx="352800" cy="194400"/>
            </a:xfrm>
            <a:prstGeom prst="rect">
              <a:avLst/>
            </a:prstGeom>
            <a:solidFill>
              <a:srgbClr val="84006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</a:pPr>
              <a:endParaRPr lang="en-GB" sz="1700">
                <a:solidFill>
                  <a:prstClr val="white"/>
                </a:solidFill>
              </a:endParaRPr>
            </a:p>
          </p:txBody>
        </p:sp>
        <p:sp>
          <p:nvSpPr>
            <p:cNvPr id="28" name="Right Arrow 27"/>
            <p:cNvSpPr/>
            <p:nvPr/>
          </p:nvSpPr>
          <p:spPr>
            <a:xfrm rot="5400000">
              <a:off x="7795844" y="1816324"/>
              <a:ext cx="504000" cy="32400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84006F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ight Arrow 4"/>
            <p:cNvSpPr/>
            <p:nvPr/>
          </p:nvSpPr>
          <p:spPr>
            <a:xfrm rot="5400000">
              <a:off x="7871444" y="1805524"/>
              <a:ext cx="352800" cy="194400"/>
            </a:xfrm>
            <a:prstGeom prst="rect">
              <a:avLst/>
            </a:prstGeom>
            <a:solidFill>
              <a:srgbClr val="84006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</a:pPr>
              <a:endParaRPr lang="en-GB" sz="1700">
                <a:solidFill>
                  <a:prstClr val="white"/>
                </a:solidFill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2077771" y="2250051"/>
              <a:ext cx="1550963" cy="1301510"/>
            </a:xfrm>
            <a:prstGeom prst="ellipse">
              <a:avLst/>
            </a:prstGeom>
            <a:solidFill>
              <a:srgbClr val="F0F0F0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IN" sz="2000">
                <a:solidFill>
                  <a:srgbClr val="FFFFFF"/>
                </a:solidFill>
              </a:endParaRPr>
            </a:p>
          </p:txBody>
        </p:sp>
        <p:sp>
          <p:nvSpPr>
            <p:cNvPr id="36" name="Rechteck 24"/>
            <p:cNvSpPr/>
            <p:nvPr/>
          </p:nvSpPr>
          <p:spPr bwMode="gray">
            <a:xfrm>
              <a:off x="2361089" y="2431976"/>
              <a:ext cx="1230500" cy="7940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defTabSz="646537" eaLnBrk="1" fontAlgn="auto" hangingPunct="1">
                <a:lnSpc>
                  <a:spcPct val="95000"/>
                </a:lnSpc>
                <a:spcBef>
                  <a:spcPts val="0"/>
                </a:spcBef>
                <a:spcAft>
                  <a:spcPts val="566"/>
                </a:spcAft>
                <a:defRPr/>
              </a:pPr>
              <a:r>
                <a:rPr lang="en-US" sz="1200" b="1">
                  <a:solidFill>
                    <a:srgbClr val="84006F"/>
                  </a:solidFill>
                </a:rPr>
                <a:t>Prevention Fund - Quality Assurance &amp; contract </a:t>
              </a:r>
              <a:r>
                <a:rPr lang="en-US" sz="1200" b="1" err="1">
                  <a:solidFill>
                    <a:srgbClr val="84006F"/>
                  </a:solidFill>
                </a:rPr>
                <a:t>mgt</a:t>
              </a:r>
              <a:endParaRPr lang="en-US" sz="800">
                <a:solidFill>
                  <a:srgbClr val="646464"/>
                </a:solidFill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1907704" y="2699037"/>
              <a:ext cx="502323" cy="421531"/>
            </a:xfrm>
            <a:prstGeom prst="ellipse">
              <a:avLst/>
            </a:prstGeom>
            <a:solidFill>
              <a:srgbClr val="84006F"/>
            </a:solidFill>
            <a:ln w="57150">
              <a:solidFill>
                <a:srgbClr val="F0F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>
                  <a:solidFill>
                    <a:srgbClr val="FFFFFF"/>
                  </a:solidFill>
                </a:rPr>
                <a:t>02</a:t>
              </a:r>
              <a:endParaRPr lang="en-IN" sz="2400" b="1">
                <a:solidFill>
                  <a:srgbClr val="FFFFFF"/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3805963" y="2250051"/>
              <a:ext cx="1550963" cy="1301510"/>
            </a:xfrm>
            <a:prstGeom prst="ellipse">
              <a:avLst/>
            </a:prstGeom>
            <a:solidFill>
              <a:srgbClr val="F0F0F0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IN" sz="2000">
                <a:solidFill>
                  <a:srgbClr val="FFFFFF"/>
                </a:solidFill>
              </a:endParaRPr>
            </a:p>
          </p:txBody>
        </p:sp>
        <p:sp>
          <p:nvSpPr>
            <p:cNvPr id="40" name="Rechteck 24"/>
            <p:cNvSpPr/>
            <p:nvPr/>
          </p:nvSpPr>
          <p:spPr bwMode="gray">
            <a:xfrm>
              <a:off x="4133588" y="2671076"/>
              <a:ext cx="1230500" cy="44319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defTabSz="646537" eaLnBrk="1" fontAlgn="auto" hangingPunct="1">
                <a:lnSpc>
                  <a:spcPct val="95000"/>
                </a:lnSpc>
                <a:spcBef>
                  <a:spcPts val="0"/>
                </a:spcBef>
                <a:spcAft>
                  <a:spcPts val="566"/>
                </a:spcAft>
                <a:defRPr/>
              </a:pPr>
              <a:r>
                <a:rPr lang="en-US" sz="1200" b="1" err="1">
                  <a:solidFill>
                    <a:srgbClr val="84006F"/>
                  </a:solidFill>
                </a:rPr>
                <a:t>InfrastructureSupport</a:t>
              </a:r>
              <a:endParaRPr lang="en-US" sz="800">
                <a:solidFill>
                  <a:srgbClr val="646464"/>
                </a:solidFill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3635896" y="2699037"/>
              <a:ext cx="502323" cy="421531"/>
            </a:xfrm>
            <a:prstGeom prst="ellipse">
              <a:avLst/>
            </a:prstGeom>
            <a:solidFill>
              <a:srgbClr val="84006F"/>
            </a:solidFill>
            <a:ln w="57150">
              <a:solidFill>
                <a:srgbClr val="F0F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>
                  <a:solidFill>
                    <a:srgbClr val="FFFFFF"/>
                  </a:solidFill>
                </a:rPr>
                <a:t>03</a:t>
              </a:r>
              <a:endParaRPr lang="en-IN" sz="2400" b="1">
                <a:solidFill>
                  <a:srgbClr val="FFFFFF"/>
                </a:solidFill>
              </a:endParaRPr>
            </a:p>
          </p:txBody>
        </p:sp>
        <p:sp>
          <p:nvSpPr>
            <p:cNvPr id="44" name="Oval 43"/>
            <p:cNvSpPr/>
            <p:nvPr/>
          </p:nvSpPr>
          <p:spPr>
            <a:xfrm>
              <a:off x="5534155" y="2250051"/>
              <a:ext cx="1550963" cy="1301510"/>
            </a:xfrm>
            <a:prstGeom prst="ellipse">
              <a:avLst/>
            </a:prstGeom>
            <a:solidFill>
              <a:srgbClr val="F0F0F0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IN" sz="2000">
                <a:solidFill>
                  <a:srgbClr val="FFFFFF"/>
                </a:solidFill>
              </a:endParaRPr>
            </a:p>
          </p:txBody>
        </p:sp>
        <p:sp>
          <p:nvSpPr>
            <p:cNvPr id="45" name="Rechteck 24"/>
            <p:cNvSpPr/>
            <p:nvPr/>
          </p:nvSpPr>
          <p:spPr bwMode="gray">
            <a:xfrm>
              <a:off x="5943233" y="2671076"/>
              <a:ext cx="1230500" cy="44319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defTabSz="646537" eaLnBrk="1" fontAlgn="auto" hangingPunct="1">
                <a:lnSpc>
                  <a:spcPct val="95000"/>
                </a:lnSpc>
                <a:spcBef>
                  <a:spcPts val="0"/>
                </a:spcBef>
                <a:spcAft>
                  <a:spcPts val="566"/>
                </a:spcAft>
                <a:defRPr/>
              </a:pPr>
              <a:r>
                <a:rPr lang="en-US" sz="1200" b="1" err="1">
                  <a:solidFill>
                    <a:srgbClr val="84006F"/>
                  </a:solidFill>
                </a:rPr>
                <a:t>Carers</a:t>
              </a:r>
              <a:r>
                <a:rPr lang="en-US" sz="1200" b="1">
                  <a:solidFill>
                    <a:srgbClr val="84006F"/>
                  </a:solidFill>
                </a:rPr>
                <a:t> Services</a:t>
              </a:r>
              <a:endParaRPr lang="en-US" sz="800">
                <a:solidFill>
                  <a:srgbClr val="646464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5364088" y="2699037"/>
              <a:ext cx="502323" cy="421531"/>
            </a:xfrm>
            <a:prstGeom prst="ellipse">
              <a:avLst/>
            </a:prstGeom>
            <a:solidFill>
              <a:srgbClr val="84006F"/>
            </a:solidFill>
            <a:ln w="57150">
              <a:solidFill>
                <a:srgbClr val="F0F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>
                  <a:solidFill>
                    <a:srgbClr val="FFFFFF"/>
                  </a:solidFill>
                </a:rPr>
                <a:t>04</a:t>
              </a:r>
              <a:endParaRPr lang="en-IN" sz="2400" b="1">
                <a:solidFill>
                  <a:srgbClr val="FFFFFF"/>
                </a:solidFill>
              </a:endParaRPr>
            </a:p>
          </p:txBody>
        </p:sp>
        <p:sp>
          <p:nvSpPr>
            <p:cNvPr id="48" name="Oval 47"/>
            <p:cNvSpPr/>
            <p:nvPr/>
          </p:nvSpPr>
          <p:spPr>
            <a:xfrm>
              <a:off x="7262347" y="2250051"/>
              <a:ext cx="1550963" cy="1301510"/>
            </a:xfrm>
            <a:prstGeom prst="ellipse">
              <a:avLst/>
            </a:prstGeom>
            <a:solidFill>
              <a:srgbClr val="F0F0F0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IN" sz="2000">
                <a:solidFill>
                  <a:srgbClr val="FFFFFF"/>
                </a:solidFill>
              </a:endParaRPr>
            </a:p>
          </p:txBody>
        </p:sp>
        <p:sp>
          <p:nvSpPr>
            <p:cNvPr id="49" name="Rechteck 24"/>
            <p:cNvSpPr/>
            <p:nvPr/>
          </p:nvSpPr>
          <p:spPr bwMode="gray">
            <a:xfrm>
              <a:off x="7625146" y="2671076"/>
              <a:ext cx="1230500" cy="44319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defTabSz="646537" eaLnBrk="1" fontAlgn="auto" hangingPunct="1">
                <a:lnSpc>
                  <a:spcPct val="95000"/>
                </a:lnSpc>
                <a:spcBef>
                  <a:spcPts val="0"/>
                </a:spcBef>
                <a:spcAft>
                  <a:spcPts val="566"/>
                </a:spcAft>
                <a:defRPr/>
              </a:pPr>
              <a:r>
                <a:rPr lang="en-US" sz="1200" b="1" dirty="0">
                  <a:solidFill>
                    <a:srgbClr val="84006F"/>
                  </a:solidFill>
                </a:rPr>
                <a:t>Advice Services</a:t>
              </a:r>
              <a:endParaRPr lang="en-US" sz="800" dirty="0">
                <a:solidFill>
                  <a:srgbClr val="646464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7092280" y="2699037"/>
              <a:ext cx="502323" cy="421531"/>
            </a:xfrm>
            <a:prstGeom prst="ellipse">
              <a:avLst/>
            </a:prstGeom>
            <a:solidFill>
              <a:srgbClr val="84006F"/>
            </a:solidFill>
            <a:ln w="57150">
              <a:solidFill>
                <a:srgbClr val="F0F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 dirty="0">
                  <a:solidFill>
                    <a:srgbClr val="FFFFFF"/>
                  </a:solidFill>
                </a:rPr>
                <a:t>05</a:t>
              </a:r>
              <a:endParaRPr lang="en-IN" sz="2400" b="1" dirty="0">
                <a:solidFill>
                  <a:srgbClr val="FFFFFF"/>
                </a:solidFill>
              </a:endParaRPr>
            </a:p>
          </p:txBody>
        </p:sp>
        <p:sp>
          <p:nvSpPr>
            <p:cNvPr id="54" name="Right Arrow 53"/>
            <p:cNvSpPr/>
            <p:nvPr/>
          </p:nvSpPr>
          <p:spPr>
            <a:xfrm rot="5400000">
              <a:off x="2607802" y="1816324"/>
              <a:ext cx="504000" cy="32400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84006F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5" name="Right Arrow 4"/>
            <p:cNvSpPr/>
            <p:nvPr/>
          </p:nvSpPr>
          <p:spPr>
            <a:xfrm rot="5400000">
              <a:off x="2683402" y="1805524"/>
              <a:ext cx="352800" cy="194400"/>
            </a:xfrm>
            <a:prstGeom prst="rect">
              <a:avLst/>
            </a:prstGeom>
            <a:solidFill>
              <a:srgbClr val="84006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</a:pPr>
              <a:endParaRPr lang="en-GB" sz="1700">
                <a:solidFill>
                  <a:prstClr val="white"/>
                </a:solidFill>
              </a:endParaRPr>
            </a:p>
          </p:txBody>
        </p:sp>
        <p:sp>
          <p:nvSpPr>
            <p:cNvPr id="57" name="Right Arrow 56"/>
            <p:cNvSpPr/>
            <p:nvPr/>
          </p:nvSpPr>
          <p:spPr>
            <a:xfrm rot="5400000">
              <a:off x="4337150" y="1816324"/>
              <a:ext cx="504000" cy="32400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84006F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8" name="Right Arrow 4"/>
            <p:cNvSpPr/>
            <p:nvPr/>
          </p:nvSpPr>
          <p:spPr>
            <a:xfrm rot="5400000">
              <a:off x="4412750" y="1805524"/>
              <a:ext cx="352800" cy="194400"/>
            </a:xfrm>
            <a:prstGeom prst="rect">
              <a:avLst/>
            </a:prstGeom>
            <a:solidFill>
              <a:srgbClr val="84006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</a:pPr>
              <a:endParaRPr lang="en-GB" sz="17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018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5081" y="217948"/>
            <a:ext cx="8856984" cy="1078321"/>
          </a:xfrm>
        </p:spPr>
        <p:txBody>
          <a:bodyPr/>
          <a:lstStyle/>
          <a:p>
            <a:pPr eaLnBrk="1" hangingPunct="1">
              <a:defRPr/>
            </a:pPr>
            <a:r>
              <a:rPr lang="en-US" sz="3200" dirty="0"/>
              <a:t>Independent Information and Advice Services Commissioning Process</a:t>
            </a:r>
            <a:endParaRPr lang="en-GB" sz="3032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995081" y="1704109"/>
            <a:ext cx="10219765" cy="4173163"/>
          </a:xfrm>
        </p:spPr>
        <p:txBody>
          <a:bodyPr/>
          <a:lstStyle/>
          <a:p>
            <a:pPr marL="457200" lvl="1" indent="-457200">
              <a:spcBef>
                <a:spcPts val="800"/>
              </a:spcBef>
              <a:buFont typeface="+mj-lt"/>
              <a:buAutoNum type="arabicPeriod"/>
            </a:pPr>
            <a:r>
              <a:rPr lang="en-GB" sz="2800" dirty="0"/>
              <a:t>Detailed </a:t>
            </a:r>
            <a:r>
              <a:rPr lang="en-GB" sz="2800" dirty="0" smtClean="0"/>
              <a:t>engagement to </a:t>
            </a:r>
            <a:r>
              <a:rPr lang="en-GB" sz="2800" dirty="0"/>
              <a:t>inform specification, particularly outcomes and quality</a:t>
            </a:r>
          </a:p>
          <a:p>
            <a:pPr marL="457200" lvl="1" indent="-457200">
              <a:spcBef>
                <a:spcPts val="800"/>
              </a:spcBef>
              <a:buFont typeface="+mj-lt"/>
              <a:buAutoNum type="arabicPeriod"/>
            </a:pPr>
            <a:r>
              <a:rPr lang="en-US" sz="2800" dirty="0" smtClean="0"/>
              <a:t>E</a:t>
            </a:r>
            <a:r>
              <a:rPr lang="en-GB" sz="2800" dirty="0" smtClean="0"/>
              <a:t>xpression </a:t>
            </a:r>
            <a:r>
              <a:rPr lang="en-GB" sz="2800" dirty="0"/>
              <a:t>of </a:t>
            </a:r>
            <a:r>
              <a:rPr lang="en-GB" sz="2800" dirty="0" smtClean="0"/>
              <a:t>Interest, engagement </a:t>
            </a:r>
            <a:r>
              <a:rPr lang="en-GB" sz="2800" dirty="0"/>
              <a:t>events and </a:t>
            </a:r>
            <a:r>
              <a:rPr lang="en-GB" sz="2800" dirty="0" smtClean="0"/>
              <a:t>number </a:t>
            </a:r>
            <a:r>
              <a:rPr lang="en-GB" sz="2800" dirty="0"/>
              <a:t>of 1-1 </a:t>
            </a:r>
            <a:r>
              <a:rPr lang="en-GB" sz="2800" dirty="0" smtClean="0"/>
              <a:t>meetings</a:t>
            </a:r>
            <a:endParaRPr lang="en-GB" sz="2800" dirty="0"/>
          </a:p>
          <a:p>
            <a:pPr marL="457200" lvl="1" indent="-457200">
              <a:spcBef>
                <a:spcPts val="800"/>
              </a:spcBef>
              <a:buFont typeface="+mj-lt"/>
              <a:buAutoNum type="arabicPeriod"/>
            </a:pPr>
            <a:r>
              <a:rPr lang="en-US" sz="2800" dirty="0"/>
              <a:t>One stage t</a:t>
            </a:r>
            <a:r>
              <a:rPr lang="en-GB" sz="2800" dirty="0"/>
              <a:t>ender process</a:t>
            </a:r>
          </a:p>
          <a:p>
            <a:pPr marL="457200" lvl="1" indent="-457200">
              <a:spcBef>
                <a:spcPts val="800"/>
              </a:spcBef>
              <a:buFont typeface="+mj-lt"/>
              <a:buAutoNum type="arabicPeriod"/>
            </a:pPr>
            <a:r>
              <a:rPr lang="en-GB" sz="2800" dirty="0"/>
              <a:t>Collaboration encouraged</a:t>
            </a:r>
          </a:p>
          <a:p>
            <a:pPr marL="457200" lvl="1" indent="-457200">
              <a:spcBef>
                <a:spcPts val="800"/>
              </a:spcBef>
              <a:buFont typeface="+mj-lt"/>
              <a:buAutoNum type="arabicPeriod"/>
            </a:pPr>
            <a:r>
              <a:rPr lang="en-US" sz="2800" dirty="0"/>
              <a:t>Four month</a:t>
            </a:r>
            <a:r>
              <a:rPr lang="en-GB" sz="2800" dirty="0"/>
              <a:t> implementation period </a:t>
            </a:r>
          </a:p>
          <a:p>
            <a:pPr marL="436563" lvl="1" indent="-342900">
              <a:spcAft>
                <a:spcPts val="257"/>
              </a:spcAft>
              <a:buFont typeface="+mj-lt"/>
              <a:buAutoNum type="arabicPeriod"/>
              <a:defRPr/>
            </a:pPr>
            <a:endParaRPr lang="en-GB" altLang="en-US" sz="1711" dirty="0">
              <a:solidFill>
                <a:srgbClr val="84006F"/>
              </a:solidFill>
              <a:latin typeface="Helvetica Neue Light" charset="0"/>
            </a:endParaRPr>
          </a:p>
          <a:p>
            <a:pPr marL="323507" indent="-323507">
              <a:buFont typeface="Arial" panose="020B0604020202020204" pitchFamily="34" charset="0"/>
              <a:buChar char="•"/>
              <a:defRPr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891790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845CE91-1DCF-480D-AF7B-599FDAB39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8835" y="268941"/>
            <a:ext cx="8385858" cy="543764"/>
          </a:xfrm>
        </p:spPr>
        <p:txBody>
          <a:bodyPr/>
          <a:lstStyle/>
          <a:p>
            <a:r>
              <a:rPr lang="en-US" sz="2800" dirty="0"/>
              <a:t/>
            </a:r>
            <a:br>
              <a:rPr lang="en-US" sz="2800" dirty="0"/>
            </a:br>
            <a:r>
              <a:rPr lang="en-GB" sz="3200" dirty="0"/>
              <a:t>Independent Information and Advice Service: Aims</a:t>
            </a:r>
            <a:endParaRPr lang="en-US" sz="3030" dirty="0">
              <a:solidFill>
                <a:srgbClr val="FF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43805" y="1260763"/>
            <a:ext cx="10139082" cy="709213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Provide an information and advice service across multiple areas but with a focus on reducing homelessnes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Help the Council meet its statutory obligations under the Housing Act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To meet the outcomes of the Council’s Corporate Pla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To focus on prevention and early interventio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Provide a locality based service to offer support and advice in the areas where they are needed mos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To promote and deliver access to justice for those who cannot afford to pay for lawyer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To develop a collaborative approach by working with other agencies to share good practice and support the development of better co-ordinated services. </a:t>
            </a:r>
            <a:endParaRPr lang="en-GB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 smtClean="0"/>
              <a:t>Working closely with the Council’s Gateway service</a:t>
            </a:r>
            <a:endParaRPr lang="en-GB" sz="2400" dirty="0"/>
          </a:p>
          <a:p>
            <a:pPr marL="0" indent="0"/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163952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pporting the new ways of work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246" y="922899"/>
            <a:ext cx="10971532" cy="5180983"/>
          </a:xfrm>
        </p:spPr>
        <p:txBody>
          <a:bodyPr/>
          <a:lstStyle/>
          <a:p>
            <a:r>
              <a:rPr lang="en-GB" b="1" dirty="0"/>
              <a:t>Croydon One Alliance – The Integrated </a:t>
            </a:r>
            <a:r>
              <a:rPr lang="en-GB" b="1" dirty="0" smtClean="0"/>
              <a:t>Community </a:t>
            </a:r>
            <a:r>
              <a:rPr lang="en-GB" b="1" dirty="0"/>
              <a:t>Network </a:t>
            </a:r>
            <a:r>
              <a:rPr lang="en-GB" b="1" dirty="0" smtClean="0"/>
              <a:t>Plus (</a:t>
            </a:r>
            <a:r>
              <a:rPr lang="en-GB" b="1" dirty="0" err="1" smtClean="0"/>
              <a:t>ICN</a:t>
            </a:r>
            <a:r>
              <a:rPr lang="en-GB" b="1" dirty="0" smtClean="0"/>
              <a:t>+)</a:t>
            </a:r>
          </a:p>
          <a:p>
            <a:pPr lvl="1"/>
            <a:r>
              <a:rPr lang="en-GB" dirty="0"/>
              <a:t>Make sure local people have access to integrated services that are tailored to the needs of local communities.</a:t>
            </a:r>
          </a:p>
          <a:p>
            <a:pPr lvl="1"/>
            <a:r>
              <a:rPr lang="en-GB" dirty="0"/>
              <a:t>Keep people well and out of hospital. </a:t>
            </a:r>
          </a:p>
          <a:p>
            <a:pPr lvl="1"/>
            <a:r>
              <a:rPr lang="en-GB" dirty="0"/>
              <a:t>Local people have access to services, closer to home, wherever they live in the borough. </a:t>
            </a:r>
          </a:p>
          <a:p>
            <a:pPr lvl="1"/>
            <a:r>
              <a:rPr lang="en-GB" dirty="0"/>
              <a:t>Services to be accessible and responsive to their individual needs. </a:t>
            </a:r>
          </a:p>
          <a:p>
            <a:r>
              <a:rPr lang="en-GB" sz="2800" b="1" dirty="0"/>
              <a:t>Community Led Support </a:t>
            </a:r>
          </a:p>
          <a:p>
            <a:pPr lvl="1"/>
            <a:r>
              <a:rPr lang="en-GB" sz="2514" dirty="0"/>
              <a:t>A strengths based approach to social care is embedded the Care Act 2014 under the wellbeing principle</a:t>
            </a:r>
            <a:r>
              <a:rPr lang="en-GB" sz="2514" dirty="0" smtClean="0"/>
              <a:t>.</a:t>
            </a:r>
          </a:p>
          <a:p>
            <a:pPr lvl="1"/>
            <a:r>
              <a:rPr lang="en-GB" sz="2514" dirty="0" smtClean="0"/>
              <a:t>Work with </a:t>
            </a:r>
            <a:r>
              <a:rPr lang="en-GB" dirty="0"/>
              <a:t>National Development Team for </a:t>
            </a:r>
            <a:r>
              <a:rPr lang="en-GB" dirty="0" smtClean="0"/>
              <a:t>Inclusion </a:t>
            </a:r>
            <a:r>
              <a:rPr lang="en-GB" dirty="0"/>
              <a:t>(</a:t>
            </a:r>
            <a:r>
              <a:rPr lang="en-GB" dirty="0" err="1"/>
              <a:t>NDTi</a:t>
            </a:r>
            <a:r>
              <a:rPr lang="en-GB" dirty="0" smtClean="0"/>
              <a:t>) who are working with Croydon to embed this approach 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170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46" y="289105"/>
            <a:ext cx="10971532" cy="1143000"/>
          </a:xfrm>
        </p:spPr>
        <p:txBody>
          <a:bodyPr/>
          <a:lstStyle/>
          <a:p>
            <a:r>
              <a:rPr lang="en-GB" sz="3200" dirty="0" smtClean="0"/>
              <a:t>Information, Advice &amp; Support Services Tender – Timetable</a:t>
            </a:r>
            <a:endParaRPr lang="en-GB" sz="3200" dirty="0">
              <a:solidFill>
                <a:srgbClr val="FF0000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1803038"/>
              </p:ext>
            </p:extLst>
          </p:nvPr>
        </p:nvGraphicFramePr>
        <p:xfrm>
          <a:off x="2276260" y="2186754"/>
          <a:ext cx="8150002" cy="418251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9627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1872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72664">
                <a:tc>
                  <a:txBody>
                    <a:bodyPr/>
                    <a:lstStyle/>
                    <a:p>
                      <a:r>
                        <a:rPr lang="en-GB" dirty="0"/>
                        <a:t>Da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ctiv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87667">
                <a:tc>
                  <a:txBody>
                    <a:bodyPr/>
                    <a:lstStyle/>
                    <a:p>
                      <a:r>
                        <a:rPr lang="en-GB" sz="1400" baseline="0" dirty="0" smtClean="0">
                          <a:solidFill>
                            <a:schemeClr val="dk1"/>
                          </a:solidFill>
                          <a:latin typeface="+mj-lt"/>
                        </a:rPr>
                        <a:t>End of July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j-lt"/>
                        </a:rPr>
                        <a:t>Tender process opens via London Tenders Portal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</a:tr>
              <a:tr h="503697">
                <a:tc>
                  <a:txBody>
                    <a:bodyPr/>
                    <a:lstStyle/>
                    <a:p>
                      <a:r>
                        <a:rPr lang="en-GB" sz="1400" baseline="0" dirty="0" smtClean="0">
                          <a:latin typeface="+mj-lt"/>
                        </a:rPr>
                        <a:t>Late September 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8009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latin typeface="+mj-lt"/>
                        </a:rPr>
                        <a:t>Tender </a:t>
                      </a:r>
                      <a:r>
                        <a:rPr lang="en-GB" sz="1400" dirty="0" smtClean="0">
                          <a:latin typeface="+mj-lt"/>
                        </a:rPr>
                        <a:t>process </a:t>
                      </a:r>
                      <a:r>
                        <a:rPr lang="en-GB" sz="1400" dirty="0">
                          <a:latin typeface="+mj-lt"/>
                        </a:rPr>
                        <a:t>closes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03697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+mj-lt"/>
                        </a:rPr>
                        <a:t>18</a:t>
                      </a:r>
                      <a:r>
                        <a:rPr lang="en-GB" sz="1400" baseline="30000" dirty="0" smtClean="0">
                          <a:latin typeface="+mj-lt"/>
                        </a:rPr>
                        <a:t>th</a:t>
                      </a:r>
                      <a:r>
                        <a:rPr lang="en-GB" sz="1400" baseline="0" dirty="0" smtClean="0">
                          <a:latin typeface="+mj-lt"/>
                        </a:rPr>
                        <a:t> </a:t>
                      </a:r>
                      <a:r>
                        <a:rPr lang="en-GB" sz="1400" dirty="0" smtClean="0">
                          <a:latin typeface="+mj-lt"/>
                        </a:rPr>
                        <a:t>Nov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j-lt"/>
                        </a:rPr>
                        <a:t>Cabinet delegate award decision to Cabinet Members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503697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+mj-lt"/>
                        </a:rPr>
                        <a:t>6</a:t>
                      </a:r>
                      <a:r>
                        <a:rPr lang="en-GB" sz="1400" baseline="30000" dirty="0" smtClean="0">
                          <a:latin typeface="+mj-lt"/>
                        </a:rPr>
                        <a:t>th</a:t>
                      </a:r>
                      <a:r>
                        <a:rPr lang="en-GB" sz="1400" baseline="0" dirty="0" smtClean="0">
                          <a:latin typeface="+mj-lt"/>
                        </a:rPr>
                        <a:t> </a:t>
                      </a:r>
                      <a:r>
                        <a:rPr lang="en-GB" sz="1400" dirty="0" smtClean="0">
                          <a:latin typeface="+mj-lt"/>
                        </a:rPr>
                        <a:t>Dec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j-lt"/>
                        </a:rPr>
                        <a:t>Outcome letters sent out via</a:t>
                      </a:r>
                      <a:r>
                        <a:rPr lang="en-GB" sz="1400" baseline="0" dirty="0">
                          <a:latin typeface="+mj-lt"/>
                        </a:rPr>
                        <a:t> email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503697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+mj-lt"/>
                        </a:rPr>
                        <a:t>Dec </a:t>
                      </a:r>
                      <a:r>
                        <a:rPr lang="en-GB" sz="1400" dirty="0">
                          <a:latin typeface="+mj-lt"/>
                        </a:rPr>
                        <a:t>– </a:t>
                      </a:r>
                      <a:r>
                        <a:rPr lang="en-GB" sz="1400" dirty="0" smtClean="0">
                          <a:latin typeface="+mj-lt"/>
                        </a:rPr>
                        <a:t>31</a:t>
                      </a:r>
                      <a:r>
                        <a:rPr lang="en-GB" sz="1400" baseline="30000" dirty="0" smtClean="0">
                          <a:latin typeface="+mj-lt"/>
                        </a:rPr>
                        <a:t>st</a:t>
                      </a:r>
                      <a:r>
                        <a:rPr lang="en-GB" sz="1400" dirty="0" smtClean="0">
                          <a:latin typeface="+mj-lt"/>
                        </a:rPr>
                        <a:t> March 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j-lt"/>
                        </a:rPr>
                        <a:t>Contracts signed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503697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+mj-lt"/>
                        </a:rPr>
                        <a:t>Dec </a:t>
                      </a:r>
                      <a:r>
                        <a:rPr lang="en-GB" sz="1400" dirty="0">
                          <a:latin typeface="+mj-lt"/>
                        </a:rPr>
                        <a:t>– </a:t>
                      </a:r>
                      <a:r>
                        <a:rPr lang="en-GB" sz="1400" dirty="0" smtClean="0">
                          <a:latin typeface="+mj-lt"/>
                        </a:rPr>
                        <a:t>31</a:t>
                      </a:r>
                      <a:r>
                        <a:rPr lang="en-GB" sz="1400" baseline="30000" dirty="0" smtClean="0">
                          <a:latin typeface="+mj-lt"/>
                        </a:rPr>
                        <a:t>st</a:t>
                      </a:r>
                      <a:r>
                        <a:rPr lang="en-GB" sz="1400" dirty="0" smtClean="0">
                          <a:latin typeface="+mj-lt"/>
                        </a:rPr>
                        <a:t> March 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+mj-lt"/>
                        </a:rPr>
                        <a:t>Decommissioning/implementation</a:t>
                      </a:r>
                      <a:r>
                        <a:rPr lang="en-GB" sz="1400" baseline="0" dirty="0" smtClean="0">
                          <a:latin typeface="+mj-lt"/>
                        </a:rPr>
                        <a:t> </a:t>
                      </a:r>
                      <a:r>
                        <a:rPr lang="en-GB" sz="1400" dirty="0" smtClean="0">
                          <a:latin typeface="+mj-lt"/>
                        </a:rPr>
                        <a:t> </a:t>
                      </a:r>
                      <a:r>
                        <a:rPr lang="en-GB" sz="1400" dirty="0">
                          <a:latin typeface="+mj-lt"/>
                        </a:rPr>
                        <a:t>s</a:t>
                      </a:r>
                      <a:r>
                        <a:rPr lang="en-GB" sz="1400" dirty="0" smtClean="0">
                          <a:latin typeface="+mj-lt"/>
                        </a:rPr>
                        <a:t>upport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503697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+mj-lt"/>
                        </a:rPr>
                        <a:t>1</a:t>
                      </a:r>
                      <a:r>
                        <a:rPr lang="en-GB" sz="1400" baseline="30000" dirty="0" smtClean="0">
                          <a:latin typeface="+mj-lt"/>
                        </a:rPr>
                        <a:t>st</a:t>
                      </a:r>
                      <a:r>
                        <a:rPr lang="en-GB" sz="1400" dirty="0" smtClean="0">
                          <a:latin typeface="+mj-lt"/>
                        </a:rPr>
                        <a:t> April</a:t>
                      </a:r>
                      <a:r>
                        <a:rPr lang="en-GB" sz="1400" baseline="0" dirty="0" smtClean="0">
                          <a:latin typeface="+mj-lt"/>
                        </a:rPr>
                        <a:t> </a:t>
                      </a:r>
                      <a:r>
                        <a:rPr lang="en-GB" sz="1400" baseline="0" dirty="0">
                          <a:latin typeface="+mj-lt"/>
                        </a:rPr>
                        <a:t>2020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j-lt"/>
                        </a:rPr>
                        <a:t>New contracts go live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610245" y="1640152"/>
            <a:ext cx="352032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 smtClean="0">
                <a:solidFill>
                  <a:schemeClr val="tx1"/>
                </a:solidFill>
              </a:rPr>
              <a:t>Budget </a:t>
            </a:r>
            <a:r>
              <a:rPr lang="en-GB" sz="2000" b="1" dirty="0">
                <a:solidFill>
                  <a:schemeClr val="tx1"/>
                </a:solidFill>
              </a:rPr>
              <a:t>up to </a:t>
            </a:r>
            <a:r>
              <a:rPr lang="en-GB" sz="2000" b="1" dirty="0" smtClean="0">
                <a:solidFill>
                  <a:schemeClr val="tx1"/>
                </a:solidFill>
              </a:rPr>
              <a:t>£333,000 </a:t>
            </a:r>
            <a:r>
              <a:rPr lang="en-GB" sz="2000" b="1" dirty="0">
                <a:solidFill>
                  <a:schemeClr val="tx1"/>
                </a:solidFill>
              </a:rPr>
              <a:t>pa</a:t>
            </a:r>
          </a:p>
        </p:txBody>
      </p:sp>
    </p:spTree>
    <p:extLst>
      <p:ext uri="{BB962C8B-B14F-4D97-AF65-F5344CB8AC3E}">
        <p14:creationId xmlns:p14="http://schemas.microsoft.com/office/powerpoint/2010/main" val="2921125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46" y="-189392"/>
            <a:ext cx="10971532" cy="1143000"/>
          </a:xfrm>
        </p:spPr>
        <p:txBody>
          <a:bodyPr/>
          <a:lstStyle/>
          <a:p>
            <a:pPr algn="ctr"/>
            <a:r>
              <a:rPr lang="en-GB" dirty="0" smtClean="0"/>
              <a:t>Tender Process- What you need to complet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246" y="630622"/>
            <a:ext cx="10971532" cy="6085488"/>
          </a:xfrm>
        </p:spPr>
        <p:txBody>
          <a:bodyPr/>
          <a:lstStyle/>
          <a:p>
            <a:r>
              <a:rPr lang="en-GB" sz="2400" b="1" dirty="0" smtClean="0"/>
              <a:t>Part 1- Details required include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otential </a:t>
            </a:r>
            <a:r>
              <a:rPr lang="en-GB" sz="2400" dirty="0"/>
              <a:t>Supplier </a:t>
            </a:r>
            <a:r>
              <a:rPr lang="en-GB" sz="2400" dirty="0" smtClean="0"/>
              <a:t>information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Bidding </a:t>
            </a:r>
            <a:r>
              <a:rPr lang="en-GB" sz="2400" dirty="0"/>
              <a:t>Model and Contact </a:t>
            </a:r>
            <a:r>
              <a:rPr lang="en-GB" sz="2400" dirty="0" smtClean="0"/>
              <a:t>Details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Declaration and grounds for mandatory/discretionary exclusion.</a:t>
            </a:r>
          </a:p>
          <a:p>
            <a:pPr marL="0" indent="0">
              <a:buNone/>
            </a:pPr>
            <a:endParaRPr lang="en-GB" sz="1200" dirty="0"/>
          </a:p>
          <a:p>
            <a:r>
              <a:rPr lang="en-GB" sz="2400" b="1" dirty="0" smtClean="0"/>
              <a:t>Part 2- Details required include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rovide last two years’ accounts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ass financial standing test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rovide references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comply to Modern Day Slavery Act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Minimum insurance levels, £5m Public and Employers Liability &amp; £2m Professional Indemnity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Have a Business Continuity Plan in place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ay the London Living Wage</a:t>
            </a:r>
            <a:endParaRPr lang="en-GB" sz="2400" dirty="0"/>
          </a:p>
          <a:p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2820313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AE&quot; g=&quot;33&quot; b=&quot;A2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5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9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LBC Template" id="{ABA1333A-6A28-4FE0-942C-F5BFB0DE3E38}" vid="{FBBBD265-CD08-468B-B21B-A189A6EB5C8B}"/>
    </a:ext>
  </a:extLst>
</a:theme>
</file>

<file path=ppt/theme/theme11.xml><?xml version="1.0" encoding="utf-8"?>
<a:theme xmlns:a="http://schemas.openxmlformats.org/drawingml/2006/main" name="4_Custom Design">
  <a:themeElements>
    <a:clrScheme name="Civic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6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7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EY light projection">
  <a:themeElements>
    <a:clrScheme name="EY light projection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2" id="{44806BBA-5580-BB43-B1DE-7F23F99D9931}" vid="{18CA949C-26AC-E348-918B-FF5958BFF2B9}"/>
    </a:ext>
  </a:extLst>
</a:theme>
</file>

<file path=ppt/theme/theme5.xml><?xml version="1.0" encoding="utf-8"?>
<a:theme xmlns:a="http://schemas.openxmlformats.org/drawingml/2006/main" name="3_Custom Design">
  <a:themeElements>
    <a:clrScheme name="Civic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8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1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6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7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DE647A8BAEC940976A74242C7247F5" ma:contentTypeVersion="31" ma:contentTypeDescription="Create a new document." ma:contentTypeScope="" ma:versionID="f9a444c25df595d9e3dcabb0aed50969">
  <xsd:schema xmlns:xsd="http://www.w3.org/2001/XMLSchema" xmlns:xs="http://www.w3.org/2001/XMLSchema" xmlns:p="http://schemas.microsoft.com/office/2006/metadata/properties" xmlns:ns2="26f46ef1-20b7-48ee-859a-73b1516320e2" xmlns:ns3="f2b78acb-a125-42ee-931d-35b42eaca4cf" targetNamespace="http://schemas.microsoft.com/office/2006/metadata/properties" ma:root="true" ma:fieldsID="5fb84b1e339cfe3f17560967c8c503fd" ns2:_="" ns3:_="">
    <xsd:import namespace="26f46ef1-20b7-48ee-859a-73b1516320e2"/>
    <xsd:import namespace="f2b78acb-a125-42ee-931d-35b42eaca4cf"/>
    <xsd:element name="properties">
      <xsd:complexType>
        <xsd:sequence>
          <xsd:element name="documentManagement">
            <xsd:complexType>
              <xsd:all>
                <xsd:element ref="ns2:DocumentDescription" minOccurs="0"/>
                <xsd:element ref="ns3:DocumentAuthor"/>
                <xsd:element ref="ns3:ProtectiveClassification"/>
                <xsd:element ref="ns3:TaxCatchAll" minOccurs="0"/>
                <xsd:element ref="ns3:TaxCatchAllLabel" minOccurs="0"/>
                <xsd:element ref="ns3:febcb389c47c4530afe6acfa103de16c" minOccurs="0"/>
                <xsd:element ref="ns3:l1c2f45cb913413195fefa0ed1a24d84" minOccurs="0"/>
                <xsd:element ref="ns3:TaxKeywordTaxHTField" minOccurs="0"/>
                <xsd:element ref="ns3:Document_x0020_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f46ef1-20b7-48ee-859a-73b1516320e2" elementFormDefault="qualified">
    <xsd:import namespace="http://schemas.microsoft.com/office/2006/documentManagement/types"/>
    <xsd:import namespace="http://schemas.microsoft.com/office/infopath/2007/PartnerControls"/>
    <xsd:element name="DocumentDescription" ma:index="2" nillable="true" ma:displayName="Document Description" ma:internalName="DocumentDescription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b78acb-a125-42ee-931d-35b42eaca4cf" elementFormDefault="qualified">
    <xsd:import namespace="http://schemas.microsoft.com/office/2006/documentManagement/types"/>
    <xsd:import namespace="http://schemas.microsoft.com/office/infopath/2007/PartnerControls"/>
    <xsd:element name="DocumentAuthor" ma:index="3" ma:displayName="Primary Contact" ma:list="UserInfo" ma:SearchPeopleOnly="false" ma:SharePointGroup="0" ma:internalName="DocumentAutho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rotectiveClassification" ma:index="4" ma:displayName="Protective Marking" ma:default="NOT CLASSIFIED" ma:description="Protective Marking scheme for LBC is being reviewed and will be available at a later date. NOT CLASSIFIED means that no Protective Marking decision has been made." ma:format="Dropdown" ma:internalName="ProtectiveClassification" ma:readOnly="false">
      <xsd:simpleType>
        <xsd:restriction base="dms:Choice">
          <xsd:enumeration value="NOT CLASSIFIED"/>
        </xsd:restriction>
      </xsd:simpleType>
    </xsd:element>
    <xsd:element name="TaxCatchAll" ma:index="10" nillable="true" ma:displayName="Taxonomy Catch All Column" ma:hidden="true" ma:list="{731ba5f3-abca-4a49-9edf-5eb091319469}" ma:internalName="TaxCatchAll" ma:readOnly="false" ma:showField="CatchAllData" ma:web="de054834-ab0c-4133-8585-c398378428a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731ba5f3-abca-4a49-9edf-5eb091319469}" ma:internalName="TaxCatchAllLabel" ma:readOnly="false" ma:showField="CatchAllDataLabel" ma:web="de054834-ab0c-4133-8585-c398378428a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ebcb389c47c4530afe6acfa103de16c" ma:index="12" ma:taxonomy="true" ma:internalName="febcb389c47c4530afe6acfa103de16c" ma:taxonomyFieldName="OrganisationalUnit" ma:displayName="Organisational Unit" ma:readOnly="false" ma:fieldId="{febcb389-c47c-4530-afe6-acfa103de16c}" ma:sspId="c265c3e7-f7ae-4ea0-b3f5-7c0024770d98" ma:termSetId="a6fd85dd-b79d-451e-9d7f-ef2ed94600a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1c2f45cb913413195fefa0ed1a24d84" ma:index="14" nillable="true" ma:taxonomy="true" ma:internalName="l1c2f45cb913413195fefa0ed1a24d84" ma:taxonomyFieldName="Activity" ma:displayName="Activity" ma:readOnly="false" ma:fieldId="{51c2f45c-b913-4131-95fe-fa0ed1a24d84}" ma:sspId="c265c3e7-f7ae-4ea0-b3f5-7c0024770d98" ma:termSetId="753275df-fc85-4ec7-8f6d-defd1dbad5d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16" nillable="true" ma:taxonomy="true" ma:internalName="TaxKeywordTaxHTField" ma:taxonomyFieldName="TaxKeyword" ma:displayName="Enterprise Keywords" ma:fieldId="{23f27201-bee3-471e-b2e7-b64fd8b7ca38}" ma:taxonomyMulti="true" ma:sspId="c265c3e7-f7ae-4ea0-b3f5-7c0024770d98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Document_x0020_Description" ma:index="19" nillable="true" ma:displayName="Document Description" ma:internalName="Document_x0020_Description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LongProperties xmlns="http://schemas.microsoft.com/office/2006/metadata/longProperties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1c2f45cb913413195fefa0ed1a24d84 xmlns="f2b78acb-a125-42ee-931d-35b42eaca4cf">
      <Terms xmlns="http://schemas.microsoft.com/office/infopath/2007/PartnerControls"/>
    </l1c2f45cb913413195fefa0ed1a24d84>
    <TaxCatchAll xmlns="f2b78acb-a125-42ee-931d-35b42eaca4cf">
      <Value>1649</Value>
    </TaxCatchAll>
    <febcb389c47c4530afe6acfa103de16c xmlns="f2b78acb-a125-42ee-931d-35b42eaca4cf">
      <Terms xmlns="http://schemas.microsoft.com/office/infopath/2007/PartnerControls">
        <TermInfo xmlns="http://schemas.microsoft.com/office/infopath/2007/PartnerControls">
          <TermName xmlns="http://schemas.microsoft.com/office/infopath/2007/PartnerControls">Strategy and Partnerships</TermName>
          <TermId xmlns="http://schemas.microsoft.com/office/infopath/2007/PartnerControls">547d68c9-08f2-4876-b7c8-a287dd110a63</TermId>
        </TermInfo>
      </Terms>
    </febcb389c47c4530afe6acfa103de16c>
    <ProtectiveClassification xmlns="f2b78acb-a125-42ee-931d-35b42eaca4cf">NOT CLASSIFIED</ProtectiveClassification>
    <DocumentAuthor xmlns="f2b78acb-a125-42ee-931d-35b42eaca4cf">
      <UserInfo>
        <DisplayName>Leigh, Warren</DisplayName>
        <AccountId>508</AccountId>
        <AccountType/>
      </UserInfo>
    </DocumentAuthor>
    <TaxKeywordTaxHTField xmlns="f2b78acb-a125-42ee-931d-35b42eaca4cf">
      <Terms xmlns="http://schemas.microsoft.com/office/infopath/2007/PartnerControls"/>
    </TaxKeywordTaxHTField>
    <Document_x0020_Description xmlns="f2b78acb-a125-42ee-931d-35b42eaca4cf" xsi:nil="true"/>
    <TaxCatchAllLabel xmlns="f2b78acb-a125-42ee-931d-35b42eaca4cf"/>
    <DocumentDescription xmlns="26f46ef1-20b7-48ee-859a-73b1516320e2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SharedContentType xmlns="Microsoft.SharePoint.Taxonomy.ContentTypeSync" SourceId="09b920bb-4f15-4fae-9738-82eeb8e0e1a0" ContentTypeId="0x0101" PreviousValue="false"/>
</file>

<file path=customXml/itemProps1.xml><?xml version="1.0" encoding="utf-8"?>
<ds:datastoreItem xmlns:ds="http://schemas.openxmlformats.org/officeDocument/2006/customXml" ds:itemID="{F328A9EC-A0C0-4515-A1B0-F02D902F4D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f46ef1-20b7-48ee-859a-73b1516320e2"/>
    <ds:schemaRef ds:uri="f2b78acb-a125-42ee-931d-35b42eaca4c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87F40B8-AB47-4FDF-9014-C5AD8A945294}">
  <ds:schemaRefs>
    <ds:schemaRef ds:uri="http://schemas.microsoft.com/office/2006/metadata/longProperties"/>
  </ds:schemaRefs>
</ds:datastoreItem>
</file>

<file path=customXml/itemProps3.xml><?xml version="1.0" encoding="utf-8"?>
<ds:datastoreItem xmlns:ds="http://schemas.openxmlformats.org/officeDocument/2006/customXml" ds:itemID="{A0CE3841-5741-4B4C-A02D-C95D4804BDC0}">
  <ds:schemaRefs>
    <ds:schemaRef ds:uri="http://schemas.microsoft.com/office/2006/documentManagement/types"/>
    <ds:schemaRef ds:uri="http://schemas.microsoft.com/office/2006/metadata/properties"/>
    <ds:schemaRef ds:uri="http://purl.org/dc/terms/"/>
    <ds:schemaRef ds:uri="f2b78acb-a125-42ee-931d-35b42eaca4cf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26f46ef1-20b7-48ee-859a-73b1516320e2"/>
    <ds:schemaRef ds:uri="http://www.w3.org/XML/1998/namespace"/>
    <ds:schemaRef ds:uri="http://purl.org/dc/elements/1.1/"/>
  </ds:schemaRefs>
</ds:datastoreItem>
</file>

<file path=customXml/itemProps4.xml><?xml version="1.0" encoding="utf-8"?>
<ds:datastoreItem xmlns:ds="http://schemas.openxmlformats.org/officeDocument/2006/customXml" ds:itemID="{BC0D4E3A-A652-48F2-92E5-5BDC4512B317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079EC843-2EA3-4593-B5BA-A72E7CBF7594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colour_with tag</Template>
  <TotalTime>9729</TotalTime>
  <Words>802</Words>
  <Application>Microsoft Office PowerPoint</Application>
  <PresentationFormat>Widescreen</PresentationFormat>
  <Paragraphs>151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6" baseType="lpstr">
      <vt:lpstr>ＭＳ Ｐゴシック</vt:lpstr>
      <vt:lpstr>ＭＳ Ｐゴシック</vt:lpstr>
      <vt:lpstr>Arial</vt:lpstr>
      <vt:lpstr>Calibri</vt:lpstr>
      <vt:lpstr>Helvetica Neue Light</vt:lpstr>
      <vt:lpstr>Lato</vt:lpstr>
      <vt:lpstr>Lato Black</vt:lpstr>
      <vt:lpstr>Times New Roman</vt:lpstr>
      <vt:lpstr>Wingdings</vt:lpstr>
      <vt:lpstr>Yrsa</vt:lpstr>
      <vt:lpstr>ヒラギノ角ゴ Pro W3</vt:lpstr>
      <vt:lpstr>25_Custom Design</vt:lpstr>
      <vt:lpstr>26_Custom Design</vt:lpstr>
      <vt:lpstr>27_Custom Design</vt:lpstr>
      <vt:lpstr>EY light projection</vt:lpstr>
      <vt:lpstr>3_Custom Design</vt:lpstr>
      <vt:lpstr>28_Custom Design</vt:lpstr>
      <vt:lpstr>31_Custom Design</vt:lpstr>
      <vt:lpstr>36_Custom Design</vt:lpstr>
      <vt:lpstr>37_Custom Design</vt:lpstr>
      <vt:lpstr>29_Custom Design</vt:lpstr>
      <vt:lpstr>4_Custom Design</vt:lpstr>
      <vt:lpstr>think-cell Slide</vt:lpstr>
      <vt:lpstr>Independent Information &amp; Advice Service Tender Process     </vt:lpstr>
      <vt:lpstr>Agenda</vt:lpstr>
      <vt:lpstr>Why have we adopted a VCS Strategy?</vt:lpstr>
      <vt:lpstr> </vt:lpstr>
      <vt:lpstr>Independent Information and Advice Services Commissioning Process</vt:lpstr>
      <vt:lpstr> Independent Information and Advice Service: Aims</vt:lpstr>
      <vt:lpstr>Supporting the new ways of working</vt:lpstr>
      <vt:lpstr>Information, Advice &amp; Support Services Tender – Timetable</vt:lpstr>
      <vt:lpstr>Tender Process- What you need to complete</vt:lpstr>
      <vt:lpstr>Tender Process- What you need to complete</vt:lpstr>
      <vt:lpstr>Tender Process- What to do during the tender period</vt:lpstr>
      <vt:lpstr>PowerPoint Presentation</vt:lpstr>
      <vt:lpstr>Presentation Title Presented by John Smith     </vt:lpstr>
    </vt:vector>
  </TitlesOfParts>
  <Company>Tribal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rd Sector Commissioning Strategy</dc:title>
  <dc:creator>Rahul Rana</dc:creator>
  <cp:keywords/>
  <cp:lastModifiedBy>Hopkins, Stephen</cp:lastModifiedBy>
  <cp:revision>124</cp:revision>
  <cp:lastPrinted>2019-07-05T07:45:28Z</cp:lastPrinted>
  <dcterms:created xsi:type="dcterms:W3CDTF">2009-12-24T08:08:40Z</dcterms:created>
  <dcterms:modified xsi:type="dcterms:W3CDTF">2019-07-29T20:09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DE647A8BAEC940976A74242C7247F5</vt:lpwstr>
  </property>
  <property fmtid="{D5CDD505-2E9C-101B-9397-08002B2CF9AE}" pid="3" name="TaxKeywordTaxHTField">
    <vt:lpwstr/>
  </property>
  <property fmtid="{D5CDD505-2E9C-101B-9397-08002B2CF9AE}" pid="4" name="OrganisationalUnit">
    <vt:lpwstr>1649;#Strategy and Partnerships|547d68c9-08f2-4876-b7c8-a287dd110a63</vt:lpwstr>
  </property>
  <property fmtid="{D5CDD505-2E9C-101B-9397-08002B2CF9AE}" pid="5" name="TaxKeyword">
    <vt:lpwstr/>
  </property>
  <property fmtid="{D5CDD505-2E9C-101B-9397-08002B2CF9AE}" pid="6" name="display_urn:schemas-microsoft-com:office:office#DocumentAuthor">
    <vt:lpwstr>Fisher, Marsha</vt:lpwstr>
  </property>
  <property fmtid="{D5CDD505-2E9C-101B-9397-08002B2CF9AE}" pid="7" name="Document Type">
    <vt:lpwstr>1399;#Presentations|e45ddabe-8316-43ca-9248-2abf3c599c57</vt:lpwstr>
  </property>
  <property fmtid="{D5CDD505-2E9C-101B-9397-08002B2CF9AE}" pid="8" name="Activity">
    <vt:lpwstr/>
  </property>
</Properties>
</file>